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99" r:id="rId5"/>
    <p:sldId id="537" r:id="rId6"/>
    <p:sldId id="538" r:id="rId7"/>
    <p:sldId id="539" r:id="rId8"/>
    <p:sldId id="540" r:id="rId9"/>
    <p:sldId id="541" r:id="rId10"/>
    <p:sldId id="542" r:id="rId11"/>
    <p:sldId id="271" r:id="rId12"/>
  </p:sldIdLst>
  <p:sldSz cx="12192000" cy="6858000"/>
  <p:notesSz cx="6858000" cy="9144000"/>
  <p:embeddedFontLst>
    <p:embeddedFont>
      <p:font typeface="Arial Black" panose="020B0A04020102020204" pitchFamily="34" charset="0"/>
      <p:bold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HelveticaNeueLT Std Lt Cn" panose="020B0406020202030204" charset="0"/>
      <p:regular r:id="rId20"/>
    </p:embeddedFont>
    <p:embeddedFont>
      <p:font typeface="Wingdings 2" panose="05020102010507070707" pitchFamily="18" charset="2"/>
      <p:regular r:id="rId21"/>
    </p:embeddedFont>
  </p:embeddedFontLst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delines" id="{F1761F50-2936-47C1-BE9D-8332532F8BFB}">
          <p14:sldIdLst>
            <p14:sldId id="399"/>
            <p14:sldId id="537"/>
            <p14:sldId id="538"/>
            <p14:sldId id="539"/>
            <p14:sldId id="540"/>
            <p14:sldId id="541"/>
            <p14:sldId id="542"/>
          </p14:sldIdLst>
        </p14:section>
        <p14:section name="Conclude" id="{CD28ABB1-A956-40C7-8280-DCAB6A179D8B}">
          <p14:sldIdLst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Михаил Чесноков" initials="МЧ" lastIdx="3" clrIdx="1">
    <p:extLst>
      <p:ext uri="{19B8F6BF-5375-455C-9EA6-DF929625EA0E}">
        <p15:presenceInfo xmlns:p15="http://schemas.microsoft.com/office/powerpoint/2012/main" userId="449d588f0a4cb11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6A28E"/>
    <a:srgbClr val="47D52F"/>
    <a:srgbClr val="405A9C"/>
    <a:srgbClr val="009D9C"/>
    <a:srgbClr val="C00000"/>
    <a:srgbClr val="7CA240"/>
    <a:srgbClr val="C6DBA4"/>
    <a:srgbClr val="FF8181"/>
    <a:srgbClr val="F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94" autoAdjust="0"/>
    <p:restoredTop sz="78418" autoAdjust="0"/>
  </p:normalViewPr>
  <p:slideViewPr>
    <p:cSldViewPr showGuides="1">
      <p:cViewPr varScale="1">
        <p:scale>
          <a:sx n="122" d="100"/>
          <a:sy n="122" d="100"/>
        </p:scale>
        <p:origin x="701" y="9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3547" y="571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/>
              <a:pPr algn="ctr"/>
              <a:t>‹#›</a:t>
            </a:fld>
            <a:endParaRPr lang="en-GB"/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060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7902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578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1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3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.xml"/><Relationship Id="rId7" Type="http://schemas.openxmlformats.org/officeDocument/2006/relationships/image" Target="../media/image1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2.xml"/><Relationship Id="rId7" Type="http://schemas.openxmlformats.org/officeDocument/2006/relationships/image" Target="../media/image1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image" Target="../media/image1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6.xml"/><Relationship Id="rId7" Type="http://schemas.openxmlformats.org/officeDocument/2006/relationships/image" Target="../media/image12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8.xml"/><Relationship Id="rId7" Type="http://schemas.openxmlformats.org/officeDocument/2006/relationships/image" Target="../media/image12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12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.xml"/><Relationship Id="rId7" Type="http://schemas.openxmlformats.org/officeDocument/2006/relationships/image" Target="../media/image1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8.xml"/><Relationship Id="rId7" Type="http://schemas.openxmlformats.org/officeDocument/2006/relationships/image" Target="../media/image1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0.xml"/><Relationship Id="rId7" Type="http://schemas.openxmlformats.org/officeDocument/2006/relationships/image" Target="../media/image1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2.xml"/><Relationship Id="rId7" Type="http://schemas.openxmlformats.org/officeDocument/2006/relationships/image" Target="../media/image1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4.xml"/><Relationship Id="rId7" Type="http://schemas.openxmlformats.org/officeDocument/2006/relationships/image" Target="../media/image1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6.xml"/><Relationship Id="rId7" Type="http://schemas.openxmlformats.org/officeDocument/2006/relationships/image" Target="../media/image12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8.xml"/><Relationship Id="rId7" Type="http://schemas.openxmlformats.org/officeDocument/2006/relationships/image" Target="../media/image1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2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2.xml"/><Relationship Id="rId7" Type="http://schemas.openxmlformats.org/officeDocument/2006/relationships/image" Target="../media/image1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4.xml"/><Relationship Id="rId7" Type="http://schemas.openxmlformats.org/officeDocument/2006/relationships/image" Target="../media/image1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6.xml"/><Relationship Id="rId7" Type="http://schemas.openxmlformats.org/officeDocument/2006/relationships/image" Target="../media/image1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8.xml"/><Relationship Id="rId7" Type="http://schemas.openxmlformats.org/officeDocument/2006/relationships/image" Target="../media/image11.emf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0.xml"/><Relationship Id="rId7" Type="http://schemas.openxmlformats.org/officeDocument/2006/relationships/image" Target="../media/image1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92.xml"/><Relationship Id="rId7" Type="http://schemas.openxmlformats.org/officeDocument/2006/relationships/image" Target="../media/image12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94.xml"/><Relationship Id="rId7" Type="http://schemas.openxmlformats.org/officeDocument/2006/relationships/image" Target="../media/image1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2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8.xml"/><Relationship Id="rId7" Type="http://schemas.openxmlformats.org/officeDocument/2006/relationships/image" Target="../media/image1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0.xml"/><Relationship Id="rId7" Type="http://schemas.openxmlformats.org/officeDocument/2006/relationships/image" Target="../media/image1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2.xml"/><Relationship Id="rId7" Type="http://schemas.openxmlformats.org/officeDocument/2006/relationships/image" Target="../media/image1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4.xml"/><Relationship Id="rId7" Type="http://schemas.openxmlformats.org/officeDocument/2006/relationships/image" Target="../media/image11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.xml"/><Relationship Id="rId7" Type="http://schemas.openxmlformats.org/officeDocument/2006/relationships/image" Target="../media/image1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08.xml"/><Relationship Id="rId7" Type="http://schemas.openxmlformats.org/officeDocument/2006/relationships/image" Target="../media/image12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10.xml"/><Relationship Id="rId7" Type="http://schemas.openxmlformats.org/officeDocument/2006/relationships/image" Target="../media/image12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4.xml"/><Relationship Id="rId7" Type="http://schemas.openxmlformats.org/officeDocument/2006/relationships/image" Target="../media/image13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6.xml"/><Relationship Id="rId7" Type="http://schemas.openxmlformats.org/officeDocument/2006/relationships/image" Target="../media/image13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11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8.xml"/><Relationship Id="rId7" Type="http://schemas.openxmlformats.org/officeDocument/2006/relationships/image" Target="../media/image13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g"/><Relationship Id="rId10" Type="http://schemas.microsoft.com/office/2007/relationships/hdphoto" Target="../media/hdphoto1.wdp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0.xml"/><Relationship Id="rId7" Type="http://schemas.openxmlformats.org/officeDocument/2006/relationships/image" Target="../media/image13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11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2.xml"/><Relationship Id="rId7" Type="http://schemas.openxmlformats.org/officeDocument/2006/relationships/image" Target="../media/image13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4.xml"/><Relationship Id="rId7" Type="http://schemas.openxmlformats.org/officeDocument/2006/relationships/image" Target="../media/image13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.xml"/><Relationship Id="rId7" Type="http://schemas.openxmlformats.org/officeDocument/2006/relationships/image" Target="../media/image13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.xml"/><Relationship Id="rId7" Type="http://schemas.openxmlformats.org/officeDocument/2006/relationships/image" Target="../media/image13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0.xml"/><Relationship Id="rId7" Type="http://schemas.openxmlformats.org/officeDocument/2006/relationships/image" Target="../media/image13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2.xml"/><Relationship Id="rId7" Type="http://schemas.openxmlformats.org/officeDocument/2006/relationships/image" Target="../media/image13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4.xml"/><Relationship Id="rId7" Type="http://schemas.openxmlformats.org/officeDocument/2006/relationships/image" Target="../media/image13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6.xml"/><Relationship Id="rId7" Type="http://schemas.openxmlformats.org/officeDocument/2006/relationships/image" Target="../media/image13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g"/><Relationship Id="rId10" Type="http://schemas.microsoft.com/office/2007/relationships/hdphoto" Target="../media/hdphoto1.wdp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4.xml"/><Relationship Id="rId7" Type="http://schemas.openxmlformats.org/officeDocument/2006/relationships/image" Target="../media/image17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8.xml"/><Relationship Id="rId7" Type="http://schemas.openxmlformats.org/officeDocument/2006/relationships/image" Target="../media/image17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50.xml"/><Relationship Id="rId7" Type="http://schemas.openxmlformats.org/officeDocument/2006/relationships/image" Target="../media/image17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5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01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 userDrawn="1">
          <p15:clr>
            <a:srgbClr val="F26B43"/>
          </p15:clr>
        </p15:guide>
        <p15:guide id="2" orient="horz" pos="1886" userDrawn="1">
          <p15:clr>
            <a:srgbClr val="F26B43"/>
          </p15:clr>
        </p15:guide>
        <p15:guide id="4" orient="horz" pos="3317" userDrawn="1">
          <p15:clr>
            <a:srgbClr val="F26B43"/>
          </p15:clr>
        </p15:guide>
        <p15:guide id="5" orient="horz" pos="3917" userDrawn="1">
          <p15:clr>
            <a:srgbClr val="F26B43"/>
          </p15:clr>
        </p15:guide>
        <p15:guide id="6" pos="288" userDrawn="1">
          <p15:clr>
            <a:srgbClr val="F26B43"/>
          </p15:clr>
        </p15:guide>
        <p15:guide id="7" pos="35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98662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5490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26B43"/>
          </p15:clr>
        </p15:guide>
        <p15:guide id="2" orient="horz" pos="3906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360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86278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 userDrawn="1">
          <p15:clr>
            <a:srgbClr val="F26B43"/>
          </p15:clr>
        </p15:guide>
        <p15:guide id="2" pos="306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041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80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586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48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599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76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063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03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586" y="1301921"/>
            <a:ext cx="2383767" cy="323165"/>
          </a:xfrm>
          <a:solidFill>
            <a:schemeClr val="bg1"/>
          </a:solidFill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AC638226-1503-4686-A47D-719DAE7E1EF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A7D057F7-5350-4EA2-9720-F7C82D8742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0484B6EF-AF21-476B-9A05-614E9257A12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1DD0896-E435-45AB-A276-C01A7737A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30431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66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09548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9337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12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1B64881F-8D00-4C4F-9882-B571FAC9DBD9}"/>
              </a:ext>
            </a:extLst>
          </p:cNvPr>
          <p:cNvGrpSpPr/>
          <p:nvPr userDrawn="1"/>
        </p:nvGrpSpPr>
        <p:grpSpPr>
          <a:xfrm>
            <a:off x="9048328" y="5406321"/>
            <a:ext cx="2763414" cy="696125"/>
            <a:chOff x="9048328" y="5406321"/>
            <a:chExt cx="2763414" cy="696125"/>
          </a:xfrm>
        </p:grpSpPr>
        <p:pic>
          <p:nvPicPr>
            <p:cNvPr id="12" name="Graphique 12">
              <a:extLst>
                <a:ext uri="{FF2B5EF4-FFF2-40B4-BE49-F238E27FC236}">
                  <a16:creationId xmlns:a16="http://schemas.microsoft.com/office/drawing/2014/main" id="{F3F6F94B-9509-481F-BDB4-02287AFD43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1B2224E0-C2A5-4329-B66A-D99B521DD6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360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 userDrawn="1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43958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95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6462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05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46130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866346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57655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32024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11238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41975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427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F8058C4-507E-4D50-8CE6-68465C1D0E3D}"/>
              </a:ext>
            </a:extLst>
          </p:cNvPr>
          <p:cNvGrpSpPr/>
          <p:nvPr userDrawn="1"/>
        </p:nvGrpSpPr>
        <p:grpSpPr>
          <a:xfrm>
            <a:off x="594746" y="5417571"/>
            <a:ext cx="2763414" cy="696125"/>
            <a:chOff x="9048328" y="5406321"/>
            <a:chExt cx="2763414" cy="696125"/>
          </a:xfrm>
        </p:grpSpPr>
        <p:pic>
          <p:nvPicPr>
            <p:cNvPr id="20" name="Graphique 12">
              <a:extLst>
                <a:ext uri="{FF2B5EF4-FFF2-40B4-BE49-F238E27FC236}">
                  <a16:creationId xmlns:a16="http://schemas.microsoft.com/office/drawing/2014/main" id="{AFF99FF3-9BC2-459A-8705-BD99E0834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DFCB8994-61E9-4607-96FC-9B9CEB5E99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2004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861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351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895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07673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7683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738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266444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02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1643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17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07947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908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65646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091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2837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 userDrawn="1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03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18142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3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93695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 userDrawn="1">
          <p15:clr>
            <a:srgbClr val="F26B43"/>
          </p15:clr>
        </p15:guide>
        <p15:guide id="2" pos="7425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 userDrawn="1">
          <p15:clr>
            <a:srgbClr val="F26B43"/>
          </p15:clr>
        </p15:guide>
        <p15:guide id="6" orient="horz" pos="3584" userDrawn="1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62451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90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57981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85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484300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2489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73450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460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3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6643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08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5698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27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872563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869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3873356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595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29" userDrawn="1">
          <p15:clr>
            <a:srgbClr val="F26B43"/>
          </p15:clr>
        </p15:guide>
        <p15:guide id="4" orient="horz" pos="1888" userDrawn="1">
          <p15:clr>
            <a:srgbClr val="F26B43"/>
          </p15:clr>
        </p15:guide>
        <p15:guide id="5" orient="horz" pos="3317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94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813145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7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2294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67628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95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3637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33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697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31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611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7135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 userDrawn="1">
          <p15:clr>
            <a:srgbClr val="F26B43"/>
          </p15:clr>
        </p15:guide>
        <p15:guide id="2" pos="7427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698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79764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6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9519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Righ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69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5464AFE6-C7AF-431B-8B04-FA8719DF399C}"/>
              </a:ext>
            </a:extLst>
          </p:cNvPr>
          <p:cNvGrpSpPr/>
          <p:nvPr userDrawn="1"/>
        </p:nvGrpSpPr>
        <p:grpSpPr>
          <a:xfrm>
            <a:off x="9048328" y="5406321"/>
            <a:ext cx="2763414" cy="696125"/>
            <a:chOff x="9048328" y="5406321"/>
            <a:chExt cx="2763414" cy="696125"/>
          </a:xfrm>
        </p:grpSpPr>
        <p:pic>
          <p:nvPicPr>
            <p:cNvPr id="16" name="Graphique 12">
              <a:extLst>
                <a:ext uri="{FF2B5EF4-FFF2-40B4-BE49-F238E27FC236}">
                  <a16:creationId xmlns:a16="http://schemas.microsoft.com/office/drawing/2014/main" id="{533CEAB0-3602-4EF4-8078-1F0CB9C6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A8A28707-ED0C-4597-9138-2DCD4A3A72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4738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 userDrawn="1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603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3594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40282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91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21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89213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60817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0439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30740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07529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Lef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242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7 July, 2019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0BEE2C7-3965-40D5-9332-7D786EDD1163}"/>
              </a:ext>
            </a:extLst>
          </p:cNvPr>
          <p:cNvGrpSpPr/>
          <p:nvPr userDrawn="1"/>
        </p:nvGrpSpPr>
        <p:grpSpPr>
          <a:xfrm>
            <a:off x="594746" y="5417571"/>
            <a:ext cx="2763414" cy="696125"/>
            <a:chOff x="9048328" y="5406321"/>
            <a:chExt cx="2763414" cy="696125"/>
          </a:xfrm>
        </p:grpSpPr>
        <p:pic>
          <p:nvPicPr>
            <p:cNvPr id="15" name="Graphique 12">
              <a:extLst>
                <a:ext uri="{FF2B5EF4-FFF2-40B4-BE49-F238E27FC236}">
                  <a16:creationId xmlns:a16="http://schemas.microsoft.com/office/drawing/2014/main" id="{C0E4F5C3-F4D6-4CC9-8F2D-9F795599D7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60867154-D632-49CB-A763-A328A22116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4720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 userDrawn="1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260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79193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4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46443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07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815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3076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06445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 userDrawn="1">
          <p15:clr>
            <a:srgbClr val="F26B43"/>
          </p15:clr>
        </p15:guide>
        <p15:guide id="2" pos="7427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pos="306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222371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5589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239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169006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55772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2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3528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992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9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70509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 userDrawn="1">
          <p15:clr>
            <a:srgbClr val="FBAE40"/>
          </p15:clr>
        </p15:guide>
        <p15:guide id="6" pos="306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35766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orient="horz" pos="613" userDrawn="1">
          <p15:clr>
            <a:srgbClr val="F26B43"/>
          </p15:clr>
        </p15:guide>
        <p15:guide id="3" pos="247" userDrawn="1">
          <p15:clr>
            <a:srgbClr val="F26B43"/>
          </p15:clr>
        </p15:guide>
        <p15:guide id="4" pos="7424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08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793138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79198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89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3960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269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ru-RU" dirty="0">
                <a:solidFill>
                  <a:schemeClr val="bg1"/>
                </a:solidFill>
              </a:rPr>
              <a:t>Требования к картинкам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098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15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 dirty="0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4841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98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tags" Target="../tags/tag3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tags" Target="../tags/tag2.xml"/><Relationship Id="rId9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vmlDrawing" Target="../drawings/vmlDrawing1.vml"/><Relationship Id="rId98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4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positive think-cell" r:id="rId96" imgW="532" imgH="530" progId="TCLayout.ActiveDocument.1">
                  <p:embed/>
                </p:oleObj>
              </mc:Choice>
              <mc:Fallback>
                <p:oleObj name="Diapositive think-cell" r:id="rId96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Ipsos | </a:t>
            </a:r>
            <a:r>
              <a:rPr lang="ru-RU" dirty="0"/>
              <a:t>Требования к картинкам</a:t>
            </a:r>
            <a:endParaRPr lang="en-GB" dirty="0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69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6" r:id="rId2"/>
    <p:sldLayoutId id="2147483715" r:id="rId3"/>
    <p:sldLayoutId id="2147483650" r:id="rId4"/>
    <p:sldLayoutId id="2147483661" r:id="rId5"/>
    <p:sldLayoutId id="2147483718" r:id="rId6"/>
    <p:sldLayoutId id="2147483717" r:id="rId7"/>
    <p:sldLayoutId id="2147483664" r:id="rId8"/>
    <p:sldLayoutId id="2147483651" r:id="rId9"/>
    <p:sldLayoutId id="2147483662" r:id="rId10"/>
    <p:sldLayoutId id="2147483663" r:id="rId11"/>
    <p:sldLayoutId id="2147483665" r:id="rId12"/>
    <p:sldLayoutId id="2147483707" r:id="rId13"/>
    <p:sldLayoutId id="2147483683" r:id="rId14"/>
    <p:sldLayoutId id="2147483684" r:id="rId15"/>
    <p:sldLayoutId id="2147483685" r:id="rId16"/>
    <p:sldLayoutId id="2147483686" r:id="rId17"/>
    <p:sldLayoutId id="2147483697" r:id="rId18"/>
    <p:sldLayoutId id="2147483735" r:id="rId19"/>
    <p:sldLayoutId id="2147483698" r:id="rId20"/>
    <p:sldLayoutId id="2147483736" r:id="rId21"/>
    <p:sldLayoutId id="2147483737" r:id="rId22"/>
    <p:sldLayoutId id="2147483738" r:id="rId23"/>
    <p:sldLayoutId id="2147483721" r:id="rId24"/>
    <p:sldLayoutId id="2147483687" r:id="rId25"/>
    <p:sldLayoutId id="2147483706" r:id="rId26"/>
    <p:sldLayoutId id="2147483739" r:id="rId27"/>
    <p:sldLayoutId id="2147483705" r:id="rId28"/>
    <p:sldLayoutId id="2147483740" r:id="rId29"/>
    <p:sldLayoutId id="2147483741" r:id="rId30"/>
    <p:sldLayoutId id="2147483742" r:id="rId31"/>
    <p:sldLayoutId id="2147483722" r:id="rId32"/>
    <p:sldLayoutId id="2147483690" r:id="rId33"/>
    <p:sldLayoutId id="2147483699" r:id="rId34"/>
    <p:sldLayoutId id="2147483743" r:id="rId35"/>
    <p:sldLayoutId id="2147483703" r:id="rId36"/>
    <p:sldLayoutId id="2147483744" r:id="rId37"/>
    <p:sldLayoutId id="2147483745" r:id="rId38"/>
    <p:sldLayoutId id="2147483746" r:id="rId39"/>
    <p:sldLayoutId id="2147483723" r:id="rId40"/>
    <p:sldLayoutId id="2147483688" r:id="rId41"/>
    <p:sldLayoutId id="2147483700" r:id="rId42"/>
    <p:sldLayoutId id="2147483747" r:id="rId43"/>
    <p:sldLayoutId id="2147483704" r:id="rId44"/>
    <p:sldLayoutId id="2147483748" r:id="rId45"/>
    <p:sldLayoutId id="2147483749" r:id="rId46"/>
    <p:sldLayoutId id="2147483750" r:id="rId47"/>
    <p:sldLayoutId id="2147483724" r:id="rId48"/>
    <p:sldLayoutId id="2147483689" r:id="rId49"/>
    <p:sldLayoutId id="2147483702" r:id="rId50"/>
    <p:sldLayoutId id="2147483751" r:id="rId51"/>
    <p:sldLayoutId id="2147483701" r:id="rId52"/>
    <p:sldLayoutId id="2147483752" r:id="rId53"/>
    <p:sldLayoutId id="2147483753" r:id="rId54"/>
    <p:sldLayoutId id="2147483754" r:id="rId55"/>
    <p:sldLayoutId id="2147483654" r:id="rId56"/>
    <p:sldLayoutId id="2147483725" r:id="rId57"/>
    <p:sldLayoutId id="2147483729" r:id="rId58"/>
    <p:sldLayoutId id="2147483755" r:id="rId59"/>
    <p:sldLayoutId id="2147483756" r:id="rId60"/>
    <p:sldLayoutId id="2147483726" r:id="rId61"/>
    <p:sldLayoutId id="2147483730" r:id="rId62"/>
    <p:sldLayoutId id="2147483757" r:id="rId63"/>
    <p:sldLayoutId id="2147483758" r:id="rId64"/>
    <p:sldLayoutId id="2147483727" r:id="rId65"/>
    <p:sldLayoutId id="2147483731" r:id="rId66"/>
    <p:sldLayoutId id="2147483728" r:id="rId67"/>
    <p:sldLayoutId id="2147483732" r:id="rId68"/>
    <p:sldLayoutId id="2147483714" r:id="rId69"/>
    <p:sldLayoutId id="2147483694" r:id="rId70"/>
    <p:sldLayoutId id="2147483719" r:id="rId71"/>
    <p:sldLayoutId id="2147483695" r:id="rId72"/>
    <p:sldLayoutId id="2147483696" r:id="rId73"/>
    <p:sldLayoutId id="2147483674" r:id="rId74"/>
    <p:sldLayoutId id="2147483733" r:id="rId75"/>
    <p:sldLayoutId id="2147483759" r:id="rId76"/>
    <p:sldLayoutId id="2147483760" r:id="rId77"/>
    <p:sldLayoutId id="2147483712" r:id="rId78"/>
    <p:sldLayoutId id="2147483708" r:id="rId79"/>
    <p:sldLayoutId id="2147483734" r:id="rId80"/>
    <p:sldLayoutId id="2147483761" r:id="rId81"/>
    <p:sldLayoutId id="2147483762" r:id="rId82"/>
    <p:sldLayoutId id="2147483713" r:id="rId83"/>
    <p:sldLayoutId id="2147483676" r:id="rId84"/>
    <p:sldLayoutId id="2147483711" r:id="rId85"/>
    <p:sldLayoutId id="2147483655" r:id="rId86"/>
    <p:sldLayoutId id="2147483720" r:id="rId87"/>
    <p:sldLayoutId id="2147483672" r:id="rId88"/>
    <p:sldLayoutId id="2147483671" r:id="rId89"/>
    <p:sldLayoutId id="2147483693" r:id="rId90"/>
    <p:sldLayoutId id="2147483709" r:id="rId9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1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emf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EF1D2628-EDEE-4EF0-9105-EFA045742F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9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EF1D2628-EDEE-4EF0-9105-EFA045742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7B0C4DF-F103-4770-91D4-8AD983298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3B6F63B-3C5A-4F3A-8067-2C69A669D3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Требования к картинкам для опросов</a:t>
            </a:r>
            <a:endParaRPr lang="en-GB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4EC924B4-157D-46F4-81A2-BDBDFF50B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69532-51CE-4EE9-94A2-F11BE75C1A89}" type="datetime3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 July, 201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7FF30BEB-F925-4446-9D0B-87E406C3A5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132" y="4014515"/>
            <a:ext cx="2355503" cy="400110"/>
          </a:xfrm>
        </p:spPr>
        <p:txBody>
          <a:bodyPr/>
          <a:lstStyle/>
          <a:p>
            <a:r>
              <a:rPr lang="en-GB" dirty="0"/>
              <a:t>Corporate Template</a:t>
            </a:r>
          </a:p>
        </p:txBody>
      </p:sp>
    </p:spTree>
    <p:extLst>
      <p:ext uri="{BB962C8B-B14F-4D97-AF65-F5344CB8AC3E}">
        <p14:creationId xmlns:p14="http://schemas.microsoft.com/office/powerpoint/2010/main" val="10402126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E6F3158A-200B-43DC-86B7-F12BF0C0B3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11382402" cy="386808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dirty="0"/>
              <a:t>1. Все картинки должны быть </a:t>
            </a:r>
            <a:r>
              <a:rPr lang="ru-RU" b="1" dirty="0">
                <a:solidFill>
                  <a:schemeClr val="tx2"/>
                </a:solidFill>
              </a:rPr>
              <a:t>одинакового типа</a:t>
            </a:r>
            <a:r>
              <a:rPr lang="ru-RU" dirty="0"/>
              <a:t>: </a:t>
            </a:r>
            <a:r>
              <a:rPr lang="en-US" dirty="0"/>
              <a:t>jpg </a:t>
            </a:r>
            <a:r>
              <a:rPr lang="ru-RU" dirty="0"/>
              <a:t>или</a:t>
            </a:r>
            <a:r>
              <a:rPr lang="en-US" dirty="0"/>
              <a:t> </a:t>
            </a:r>
            <a:r>
              <a:rPr lang="en-US" dirty="0" err="1"/>
              <a:t>png</a:t>
            </a:r>
            <a:r>
              <a:rPr lang="en-US" dirty="0"/>
              <a:t>,</a:t>
            </a:r>
            <a:r>
              <a:rPr lang="ru-RU" dirty="0"/>
              <a:t> или</a:t>
            </a:r>
            <a:r>
              <a:rPr lang="en-US" dirty="0"/>
              <a:t> gif. </a:t>
            </a:r>
            <a:endParaRPr lang="ru-RU" dirty="0"/>
          </a:p>
          <a:p>
            <a:pPr>
              <a:spcBef>
                <a:spcPts val="0"/>
              </a:spcBef>
            </a:pPr>
            <a:r>
              <a:rPr lang="en-US" dirty="0"/>
              <a:t>PNG </a:t>
            </a:r>
            <a:r>
              <a:rPr lang="ru-RU" dirty="0"/>
              <a:t>поддерживает прозрачный фон, </a:t>
            </a:r>
            <a:r>
              <a:rPr lang="en-US" dirty="0"/>
              <a:t>GIF</a:t>
            </a:r>
            <a:r>
              <a:rPr lang="ru-RU" dirty="0"/>
              <a:t> поддерживает анимацию.</a:t>
            </a:r>
          </a:p>
          <a:p>
            <a:pPr>
              <a:spcBef>
                <a:spcPts val="600"/>
              </a:spcBef>
            </a:pPr>
            <a:r>
              <a:rPr lang="ru-RU" dirty="0"/>
              <a:t>Проверить тип можно по имени файла (если включен показ расширений), либо по колонке </a:t>
            </a:r>
            <a:r>
              <a:rPr lang="en-US" dirty="0"/>
              <a:t>Type</a:t>
            </a:r>
            <a:r>
              <a:rPr lang="ru-RU" dirty="0"/>
              <a:t> (Тип)</a:t>
            </a:r>
            <a:r>
              <a:rPr lang="en-US" dirty="0"/>
              <a:t> </a:t>
            </a:r>
            <a:r>
              <a:rPr lang="ru-RU" dirty="0"/>
              <a:t>в Проводнике.</a:t>
            </a:r>
            <a:endParaRPr lang="en-US" dirty="0"/>
          </a:p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EA77C65-5CA0-4AD0-9735-1F6B5EC376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FB10221-7EB5-4F45-BA54-5411FA861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ип картинок</a:t>
            </a:r>
            <a:r>
              <a:rPr lang="en-US" dirty="0"/>
              <a:t> (1/2)</a:t>
            </a:r>
            <a:endParaRPr lang="ru-R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27147C-B14F-4A03-9E7D-6748177EE7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080" y="2927807"/>
            <a:ext cx="4562475" cy="21526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0896E9D-EB4E-4AF3-87E7-70109FBB399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b="1589"/>
          <a:stretch/>
        </p:blipFill>
        <p:spPr>
          <a:xfrm>
            <a:off x="5375920" y="2927807"/>
            <a:ext cx="5475892" cy="222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041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C18EF97-EF76-49BF-A993-50F4EFE523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11373195" cy="3868080"/>
          </a:xfrm>
        </p:spPr>
        <p:txBody>
          <a:bodyPr lIns="0" rIns="90000"/>
          <a:lstStyle/>
          <a:p>
            <a:r>
              <a:rPr lang="ru-RU" dirty="0"/>
              <a:t>2. Для того, </a:t>
            </a:r>
            <a:r>
              <a:rPr lang="ru-RU" b="1" dirty="0">
                <a:solidFill>
                  <a:schemeClr val="tx2"/>
                </a:solidFill>
              </a:rPr>
              <a:t>чтобы поменять тип файла </a:t>
            </a:r>
            <a:r>
              <a:rPr lang="ru-RU" dirty="0"/>
              <a:t>(картинки) нужно </a:t>
            </a:r>
            <a:r>
              <a:rPr lang="ru-RU" b="1" dirty="0">
                <a:solidFill>
                  <a:schemeClr val="tx2"/>
                </a:solidFill>
              </a:rPr>
              <a:t>использовать специальные программы </a:t>
            </a:r>
            <a:r>
              <a:rPr lang="ru-RU" dirty="0"/>
              <a:t>(например, можно сделать в </a:t>
            </a:r>
            <a:r>
              <a:rPr lang="en-US" dirty="0"/>
              <a:t>PowerPoint, Paint, </a:t>
            </a:r>
            <a:r>
              <a:rPr lang="ru-RU" dirty="0"/>
              <a:t>программе просмотра изображений и т.д.). </a:t>
            </a:r>
          </a:p>
          <a:p>
            <a:pPr>
              <a:spcBef>
                <a:spcPts val="0"/>
              </a:spcBef>
            </a:pPr>
            <a:r>
              <a:rPr lang="ru-RU" dirty="0"/>
              <a:t>Нельзя изменять тип картинки простым переименованием файла!</a:t>
            </a:r>
            <a:endParaRPr lang="en-US" dirty="0"/>
          </a:p>
          <a:p>
            <a:pPr marL="0" indent="0">
              <a:spcBef>
                <a:spcPts val="600"/>
              </a:spcBef>
              <a:buNone/>
            </a:pPr>
            <a:r>
              <a:rPr lang="en-US" sz="4400" dirty="0">
                <a:solidFill>
                  <a:srgbClr val="FF0000"/>
                </a:solidFill>
                <a:sym typeface="Wingdings 2" panose="05020102010507070707" pitchFamily="18" charset="2"/>
              </a:rPr>
              <a:t></a:t>
            </a:r>
            <a:r>
              <a:rPr lang="ru-RU" dirty="0">
                <a:sym typeface="Wingdings 2" panose="05020102010507070707" pitchFamily="18" charset="2"/>
              </a:rPr>
              <a:t>						   </a:t>
            </a:r>
            <a:r>
              <a:rPr lang="en-US" dirty="0">
                <a:sym typeface="Wingdings 2" panose="05020102010507070707" pitchFamily="18" charset="2"/>
              </a:rPr>
              <a:t>                    </a:t>
            </a:r>
            <a:r>
              <a:rPr lang="en-US" sz="4400" dirty="0">
                <a:solidFill>
                  <a:schemeClr val="tx2"/>
                </a:solidFill>
                <a:sym typeface="Wingdings 2" panose="05020102010507070707" pitchFamily="18" charset="2"/>
              </a:rPr>
              <a:t></a:t>
            </a:r>
            <a:endParaRPr lang="en-US" sz="4400" dirty="0">
              <a:solidFill>
                <a:schemeClr val="tx2"/>
              </a:solidFill>
            </a:endParaRPr>
          </a:p>
          <a:p>
            <a:endParaRPr lang="en-US" dirty="0"/>
          </a:p>
          <a:p>
            <a:pPr marL="0" indent="0">
              <a:spcBef>
                <a:spcPts val="600"/>
              </a:spcBef>
              <a:buNone/>
            </a:pPr>
            <a:endParaRPr lang="en-US" dirty="0"/>
          </a:p>
          <a:p>
            <a:pPr indent="0">
              <a:spcBef>
                <a:spcPts val="600"/>
              </a:spcBef>
              <a:buNone/>
            </a:pPr>
            <a:endParaRPr lang="ru-RU" dirty="0"/>
          </a:p>
          <a:p>
            <a:endParaRPr lang="ru-RU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1C762C-166A-4413-AF31-B4CA8B0FDF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3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401DD94F-45DB-4303-BF3D-76CDE4137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ип картинок</a:t>
            </a:r>
            <a:r>
              <a:rPr lang="en-US" dirty="0"/>
              <a:t> (2/2)</a:t>
            </a:r>
            <a:endParaRPr lang="ru-RU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CF409B2-07F3-4D65-97C3-58CE50EFF672}"/>
              </a:ext>
            </a:extLst>
          </p:cNvPr>
          <p:cNvGrpSpPr/>
          <p:nvPr/>
        </p:nvGrpSpPr>
        <p:grpSpPr>
          <a:xfrm>
            <a:off x="485775" y="3419708"/>
            <a:ext cx="4421312" cy="369332"/>
            <a:chOff x="3870932" y="2807640"/>
            <a:chExt cx="4421312" cy="36933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07B86C1-6679-465B-8328-42331C586E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70932" y="2834732"/>
              <a:ext cx="821616" cy="288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BF0DFB6-C906-421B-B0C5-612FEFBBC1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44352" y="2834732"/>
              <a:ext cx="1170016" cy="288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18A1492-64DA-41E1-8685-E00CEE3DA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56244" y="2834732"/>
              <a:ext cx="936000" cy="2880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6E38EA3-68B1-4F1B-9F24-85B1A2771857}"/>
                </a:ext>
              </a:extLst>
            </p:cNvPr>
            <p:cNvSpPr txBox="1"/>
            <p:nvPr/>
          </p:nvSpPr>
          <p:spPr>
            <a:xfrm>
              <a:off x="5034424" y="2807640"/>
              <a:ext cx="4680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F2</a:t>
              </a:r>
              <a:endParaRPr lang="ru-RU" dirty="0"/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81CE1310-884A-45A0-BC93-C49DDC110905}"/>
                </a:ext>
              </a:extLst>
            </p:cNvPr>
            <p:cNvCxnSpPr>
              <a:cxnSpLocks/>
              <a:stCxn id="5" idx="3"/>
              <a:endCxn id="8" idx="1"/>
            </p:cNvCxnSpPr>
            <p:nvPr/>
          </p:nvCxnSpPr>
          <p:spPr>
            <a:xfrm>
              <a:off x="4692548" y="2978732"/>
              <a:ext cx="341876" cy="13574"/>
            </a:xfrm>
            <a:prstGeom prst="straightConnector1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95B19BD-8006-4039-828C-B2BD89098D75}"/>
                </a:ext>
              </a:extLst>
            </p:cNvPr>
            <p:cNvCxnSpPr>
              <a:cxnSpLocks/>
            </p:cNvCxnSpPr>
            <p:nvPr/>
          </p:nvCxnSpPr>
          <p:spPr>
            <a:xfrm>
              <a:off x="5501296" y="2965158"/>
              <a:ext cx="341876" cy="13574"/>
            </a:xfrm>
            <a:prstGeom prst="straightConnector1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A208D0B7-2C48-4C4B-9F2E-AB35D1C6256B}"/>
                </a:ext>
              </a:extLst>
            </p:cNvPr>
            <p:cNvCxnSpPr>
              <a:cxnSpLocks/>
            </p:cNvCxnSpPr>
            <p:nvPr/>
          </p:nvCxnSpPr>
          <p:spPr>
            <a:xfrm>
              <a:off x="7014368" y="2992306"/>
              <a:ext cx="341876" cy="13574"/>
            </a:xfrm>
            <a:prstGeom prst="straightConnector1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9D5611A7-5521-4AB5-988C-BC127262B9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5042" y="2771699"/>
            <a:ext cx="2465988" cy="343829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38DBAB0-F226-40C8-84C9-84FF5F6859C5}"/>
              </a:ext>
            </a:extLst>
          </p:cNvPr>
          <p:cNvSpPr txBox="1"/>
          <p:nvPr/>
        </p:nvSpPr>
        <p:spPr>
          <a:xfrm>
            <a:off x="414020" y="4051825"/>
            <a:ext cx="6192688" cy="1308050"/>
          </a:xfrm>
          <a:prstGeom prst="rect">
            <a:avLst/>
          </a:prstGeom>
        </p:spPr>
        <p:txBody>
          <a:bodyPr vert="horz" lIns="0" tIns="45720" rIns="90000" bIns="45720" rtlCol="0">
            <a:noAutofit/>
          </a:bodyPr>
          <a:lstStyle>
            <a:lvl1pPr marL="85725" indent="-85725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/>
            </a:lvl1pPr>
            <a:lvl2pPr marL="447675" indent="-314325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/>
            </a:lvl2pPr>
            <a:lvl3pPr marL="714375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/>
            </a:lvl3pPr>
            <a:lvl4pPr marL="987425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bg2"/>
                </a:solidFill>
              </a:defRPr>
            </a:lvl4pPr>
            <a:lvl5pPr marL="1262063" indent="-22860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Такие файлы некоторые браузеры будут отображать неправильно, а некоторые не смогут отобразить на экране.</a:t>
            </a:r>
          </a:p>
          <a:p>
            <a:r>
              <a:rPr lang="ru-RU" dirty="0"/>
              <a:t>Это как </a:t>
            </a:r>
            <a:r>
              <a:rPr lang="en-US" dirty="0"/>
              <a:t>mp3 </a:t>
            </a:r>
            <a:r>
              <a:rPr lang="ru-RU" dirty="0"/>
              <a:t>переименовать в </a:t>
            </a:r>
            <a:r>
              <a:rPr lang="en-US" dirty="0"/>
              <a:t>doc</a:t>
            </a:r>
            <a:r>
              <a:rPr lang="ru-RU" dirty="0"/>
              <a:t>, чтобы прочитать текст песни – результата не будет, аналогично и с типом картинок.</a:t>
            </a:r>
          </a:p>
        </p:txBody>
      </p:sp>
    </p:spTree>
    <p:extLst>
      <p:ext uri="{BB962C8B-B14F-4D97-AF65-F5344CB8AC3E}">
        <p14:creationId xmlns:p14="http://schemas.microsoft.com/office/powerpoint/2010/main" val="3458648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26DD2D8-1EE0-424F-95EF-504D2AA7E4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11382428" cy="3868080"/>
          </a:xfrm>
        </p:spPr>
        <p:txBody>
          <a:bodyPr/>
          <a:lstStyle/>
          <a:p>
            <a:r>
              <a:rPr lang="en-US" dirty="0"/>
              <a:t>3. </a:t>
            </a:r>
            <a:r>
              <a:rPr lang="ru-RU" b="1" dirty="0">
                <a:solidFill>
                  <a:schemeClr val="tx2"/>
                </a:solidFill>
              </a:rPr>
              <a:t>Название картинки </a:t>
            </a:r>
            <a:r>
              <a:rPr lang="ru-RU" dirty="0"/>
              <a:t>должно содержать </a:t>
            </a:r>
            <a:r>
              <a:rPr lang="ru-RU" b="1" dirty="0">
                <a:solidFill>
                  <a:schemeClr val="tx2"/>
                </a:solidFill>
              </a:rPr>
              <a:t>только код из анкеты</a:t>
            </a:r>
            <a:r>
              <a:rPr lang="ru-RU" dirty="0"/>
              <a:t>, возможно добавить код из ячейки, если есть несколько вариантов одного и того же продукта или упаковки (например, 4_</a:t>
            </a:r>
            <a:r>
              <a:rPr lang="en-US" dirty="0"/>
              <a:t>F4=1.jpg, </a:t>
            </a:r>
            <a:r>
              <a:rPr lang="ru-RU" dirty="0"/>
              <a:t>4_</a:t>
            </a:r>
            <a:r>
              <a:rPr lang="en-US" dirty="0"/>
              <a:t>F4=2.jpg</a:t>
            </a:r>
            <a:r>
              <a:rPr lang="ru-RU" dirty="0"/>
              <a:t>).</a:t>
            </a:r>
          </a:p>
          <a:p>
            <a:pPr>
              <a:spcBef>
                <a:spcPts val="600"/>
              </a:spcBef>
            </a:pPr>
            <a:r>
              <a:rPr lang="ru-RU" dirty="0"/>
              <a:t>Не следует подписывать картинки длинными названиями марок.</a:t>
            </a:r>
            <a:endParaRPr lang="fr-FR" dirty="0"/>
          </a:p>
          <a:p>
            <a:pPr marL="0" indent="0">
              <a:spcBef>
                <a:spcPts val="600"/>
              </a:spcBef>
              <a:buNone/>
            </a:pPr>
            <a:r>
              <a:rPr lang="ru-RU" sz="2400" dirty="0">
                <a:solidFill>
                  <a:schemeClr val="bg2"/>
                </a:solidFill>
                <a:sym typeface="Wingdings 2" panose="05020102010507070707" pitchFamily="18" charset="2"/>
              </a:rPr>
              <a:t>Анкета</a:t>
            </a:r>
            <a:r>
              <a:rPr lang="ru-RU" sz="4400" dirty="0">
                <a:solidFill>
                  <a:srgbClr val="FF0000"/>
                </a:solidFill>
                <a:sym typeface="Wingdings 2" panose="05020102010507070707" pitchFamily="18" charset="2"/>
              </a:rPr>
              <a:t>			</a:t>
            </a:r>
            <a:r>
              <a:rPr lang="en-US" sz="4400" dirty="0">
                <a:solidFill>
                  <a:srgbClr val="FF0000"/>
                </a:solidFill>
                <a:sym typeface="Wingdings 2" panose="05020102010507070707" pitchFamily="18" charset="2"/>
              </a:rPr>
              <a:t></a:t>
            </a:r>
            <a:r>
              <a:rPr lang="ru-RU" dirty="0">
                <a:sym typeface="Wingdings 2" panose="05020102010507070707" pitchFamily="18" charset="2"/>
              </a:rPr>
              <a:t>					 </a:t>
            </a:r>
            <a:r>
              <a:rPr lang="en-US" sz="4400" dirty="0">
                <a:solidFill>
                  <a:schemeClr val="tx2"/>
                </a:solidFill>
                <a:sym typeface="Wingdings 2" panose="05020102010507070707" pitchFamily="18" charset="2"/>
              </a:rPr>
              <a:t></a:t>
            </a:r>
            <a:endParaRPr lang="en-US" sz="440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1C762C-166A-4413-AF31-B4CA8B0FDF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4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D185AB42-C7E2-412B-9E59-D2CB8B88E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звания картинок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443E1B-C3E1-4E14-A8A9-BCA2F09D46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129"/>
          <a:stretch/>
        </p:blipFill>
        <p:spPr>
          <a:xfrm>
            <a:off x="323797" y="3293979"/>
            <a:ext cx="2705100" cy="29165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A17815-207C-4112-8083-D852E99896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717"/>
          <a:stretch/>
        </p:blipFill>
        <p:spPr>
          <a:xfrm>
            <a:off x="9408368" y="2867351"/>
            <a:ext cx="768019" cy="33431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39EAE4-517C-48D8-AC1D-FAD19B120C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5077" y="2888086"/>
            <a:ext cx="2097611" cy="331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630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E934D9E-2BD7-485A-805B-90B5975A8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ru-RU" dirty="0"/>
              <a:t>Названия папок с картинками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3D11395-53BE-4BEA-BF58-1D13C7CABA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11379846" cy="3868080"/>
          </a:xfrm>
        </p:spPr>
        <p:txBody>
          <a:bodyPr/>
          <a:lstStyle/>
          <a:p>
            <a:r>
              <a:rPr lang="fr-FR" dirty="0"/>
              <a:t>4. </a:t>
            </a:r>
            <a:r>
              <a:rPr lang="ru-RU" dirty="0"/>
              <a:t>Все картинки </a:t>
            </a:r>
            <a:r>
              <a:rPr lang="ru-RU" b="1" dirty="0">
                <a:solidFill>
                  <a:schemeClr val="tx2"/>
                </a:solidFill>
              </a:rPr>
              <a:t>должны быть разложены по папкам</a:t>
            </a:r>
            <a:r>
              <a:rPr lang="ru-RU" dirty="0"/>
              <a:t>, на которые в анкете будет указание.</a:t>
            </a:r>
          </a:p>
          <a:p>
            <a:pPr marL="0" indent="0">
              <a:buNone/>
            </a:pPr>
            <a:r>
              <a:rPr lang="en-US" sz="4400" dirty="0">
                <a:solidFill>
                  <a:srgbClr val="FF0000"/>
                </a:solidFill>
                <a:sym typeface="Wingdings 2" panose="05020102010507070707" pitchFamily="18" charset="2"/>
              </a:rPr>
              <a:t></a:t>
            </a:r>
            <a:r>
              <a:rPr lang="ru-RU" dirty="0">
                <a:sym typeface="Wingdings 2" panose="05020102010507070707" pitchFamily="18" charset="2"/>
              </a:rPr>
              <a:t>						   </a:t>
            </a:r>
            <a:r>
              <a:rPr lang="en-US" sz="4400" dirty="0">
                <a:solidFill>
                  <a:schemeClr val="tx2"/>
                </a:solidFill>
                <a:sym typeface="Wingdings 2" panose="05020102010507070707" pitchFamily="18" charset="2"/>
              </a:rPr>
              <a:t></a:t>
            </a:r>
            <a:endParaRPr lang="en-US" sz="440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1C762C-166A-4413-AF31-B4CA8B0FDF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5</a:t>
            </a:fld>
            <a:r>
              <a:rPr lang="en-GB"/>
              <a:t> ‒ 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99997B-1EC6-49A1-B14A-787AA10B83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48228" y="2384884"/>
            <a:ext cx="2571750" cy="7524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E04AE9-2122-4118-9F17-86DB82E35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7207" y="3292704"/>
            <a:ext cx="6067425" cy="11144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A14FB0F-29B2-456E-A252-A45BCB5EAF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749"/>
          <a:stretch/>
        </p:blipFill>
        <p:spPr>
          <a:xfrm>
            <a:off x="5722540" y="4599956"/>
            <a:ext cx="6134100" cy="682279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52C8E90-B81F-4643-AD92-3850E0ABB3CD}"/>
              </a:ext>
            </a:extLst>
          </p:cNvPr>
          <p:cNvCxnSpPr>
            <a:cxnSpLocks/>
          </p:cNvCxnSpPr>
          <p:nvPr/>
        </p:nvCxnSpPr>
        <p:spPr>
          <a:xfrm>
            <a:off x="9300356" y="2827866"/>
            <a:ext cx="360040" cy="1255366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8EE649A-2EB8-4455-8F9D-A324F37C3845}"/>
              </a:ext>
            </a:extLst>
          </p:cNvPr>
          <p:cNvCxnSpPr>
            <a:cxnSpLocks/>
          </p:cNvCxnSpPr>
          <p:nvPr/>
        </p:nvCxnSpPr>
        <p:spPr>
          <a:xfrm flipH="1">
            <a:off x="6645437" y="3085740"/>
            <a:ext cx="2150863" cy="204115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3F4D4AD2-6C11-401A-875D-C6DAE68DB0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785" y="3009884"/>
            <a:ext cx="5141059" cy="2723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195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20C35D21-4D01-4937-8D5F-22B82B10E7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9579646" cy="3868080"/>
          </a:xfrm>
        </p:spPr>
        <p:txBody>
          <a:bodyPr/>
          <a:lstStyle/>
          <a:p>
            <a:r>
              <a:rPr lang="en-US" dirty="0"/>
              <a:t>5. </a:t>
            </a:r>
            <a:r>
              <a:rPr lang="ru-RU" dirty="0"/>
              <a:t>Картинки в одном наборе </a:t>
            </a:r>
            <a:r>
              <a:rPr lang="ru-RU" b="1" dirty="0">
                <a:solidFill>
                  <a:schemeClr val="tx2"/>
                </a:solidFill>
              </a:rPr>
              <a:t>должны иметь одинаковые размеры</a:t>
            </a:r>
            <a:r>
              <a:rPr lang="ru-RU" dirty="0"/>
              <a:t>. В идеале это квадрат, но как минимум, должна быть одинаковой либо ширина (коробки конфет), либо высота (бутылки).</a:t>
            </a:r>
            <a:endParaRPr lang="en-US" dirty="0"/>
          </a:p>
          <a:p>
            <a:r>
              <a:rPr lang="en-US" dirty="0"/>
              <a:t>6. </a:t>
            </a:r>
            <a:r>
              <a:rPr lang="ru-RU" b="1" dirty="0">
                <a:solidFill>
                  <a:schemeClr val="tx2"/>
                </a:solidFill>
              </a:rPr>
              <a:t>Максимальная ширина </a:t>
            </a:r>
            <a:r>
              <a:rPr lang="ru-RU" dirty="0"/>
              <a:t>рабочей области на экране ПК/ноутбука </a:t>
            </a:r>
            <a:r>
              <a:rPr lang="en-US" dirty="0"/>
              <a:t>1000px</a:t>
            </a:r>
            <a:r>
              <a:rPr lang="ru-RU" dirty="0"/>
              <a:t>.</a:t>
            </a:r>
          </a:p>
          <a:p>
            <a:r>
              <a:rPr lang="ru-RU" dirty="0"/>
              <a:t>7. </a:t>
            </a:r>
            <a:r>
              <a:rPr lang="ru-RU" b="1" dirty="0">
                <a:solidFill>
                  <a:schemeClr val="tx2"/>
                </a:solidFill>
              </a:rPr>
              <a:t>Максимальная высота </a:t>
            </a:r>
            <a:r>
              <a:rPr lang="ru-RU" dirty="0"/>
              <a:t>рабочей области на экране ПК/ноутбука 700</a:t>
            </a:r>
            <a:r>
              <a:rPr lang="en-US" dirty="0"/>
              <a:t>px</a:t>
            </a:r>
            <a:r>
              <a:rPr lang="ru-RU" dirty="0"/>
              <a:t>.</a:t>
            </a:r>
            <a:endParaRPr lang="en-US" dirty="0"/>
          </a:p>
          <a:p>
            <a:r>
              <a:rPr lang="en-US" dirty="0"/>
              <a:t>8. </a:t>
            </a:r>
            <a:r>
              <a:rPr lang="ru-RU" b="1" dirty="0">
                <a:solidFill>
                  <a:schemeClr val="tx2"/>
                </a:solidFill>
              </a:rPr>
              <a:t>Размер</a:t>
            </a:r>
            <a:r>
              <a:rPr lang="ru-RU" dirty="0"/>
              <a:t> картинок для марок </a:t>
            </a:r>
            <a:r>
              <a:rPr lang="ru-RU" b="1" dirty="0">
                <a:solidFill>
                  <a:schemeClr val="tx2"/>
                </a:solidFill>
              </a:rPr>
              <a:t>зависит от их количества на экране </a:t>
            </a:r>
            <a:r>
              <a:rPr lang="ru-RU" dirty="0"/>
              <a:t>и того, сколько их нужно будет расположить в строку. Для более наглядного представления лучше разложить картинки на слайде в </a:t>
            </a:r>
            <a:r>
              <a:rPr lang="en-US" dirty="0"/>
              <a:t>ppt</a:t>
            </a:r>
            <a:r>
              <a:rPr lang="ru-RU" dirty="0"/>
              <a:t>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1C762C-166A-4413-AF31-B4CA8B0FDF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6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A6B1EA0F-9FE7-480E-8ABE-C3E9E4C74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меры картинок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AF17F7-39B2-4331-AA47-E95629150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4452" y="1794284"/>
            <a:ext cx="1552575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124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A98443-4754-4B33-8D0F-BA9F7A3E8D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. </a:t>
            </a:r>
            <a:r>
              <a:rPr lang="ru-RU" dirty="0"/>
              <a:t>Вставить картинки на слайд в </a:t>
            </a:r>
            <a:r>
              <a:rPr lang="en-US" dirty="0"/>
              <a:t>PPT</a:t>
            </a:r>
          </a:p>
          <a:p>
            <a:r>
              <a:rPr lang="en-US" dirty="0"/>
              <a:t>W:\App\MACROS0\Chesnokov_Mihail\InsertImagesToPPT.xls</a:t>
            </a:r>
          </a:p>
          <a:p>
            <a:r>
              <a:rPr lang="en-US" dirty="0"/>
              <a:t>2. </a:t>
            </a:r>
            <a:r>
              <a:rPr lang="ru-RU" dirty="0"/>
              <a:t>Переименовать файлы</a:t>
            </a:r>
            <a:endParaRPr lang="en-US" dirty="0"/>
          </a:p>
          <a:p>
            <a:r>
              <a:rPr lang="en-US" dirty="0"/>
              <a:t>W:\App\MACROS0\Chesnokov_Mihail\renameFiles.xlsm</a:t>
            </a:r>
            <a:endParaRPr lang="ru-RU" dirty="0"/>
          </a:p>
          <a:p>
            <a:r>
              <a:rPr lang="ru-RU" dirty="0"/>
              <a:t>3. Конвертировать и изменить размеры картинок</a:t>
            </a:r>
          </a:p>
          <a:p>
            <a:r>
              <a:rPr lang="en-US" dirty="0"/>
              <a:t>W:\App\MACROS0\Chesnokov_Mihail\ThumbnailsGUI</a:t>
            </a:r>
            <a:endParaRPr lang="ru-RU" dirty="0"/>
          </a:p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FC3E80-0AE2-40C8-B2F3-F6B422F8D6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7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24B72D-1753-4A58-A601-DAE7D2C8D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ЕЗНЫЕ макросы</a:t>
            </a:r>
          </a:p>
        </p:txBody>
      </p:sp>
    </p:spTree>
    <p:extLst>
      <p:ext uri="{BB962C8B-B14F-4D97-AF65-F5344CB8AC3E}">
        <p14:creationId xmlns:p14="http://schemas.microsoft.com/office/powerpoint/2010/main" val="3636040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C0117EA-5BF4-4385-AFD5-394F31FA93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0909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C0117EA-5BF4-4385-AFD5-394F31FA9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5">
            <a:extLst>
              <a:ext uri="{FF2B5EF4-FFF2-40B4-BE49-F238E27FC236}">
                <a16:creationId xmlns:a16="http://schemas.microsoft.com/office/drawing/2014/main" id="{D36B4109-E0CF-48BD-A75D-BF2786BFB462}"/>
              </a:ext>
            </a:extLst>
          </p:cNvPr>
          <p:cNvSpPr>
            <a:spLocks noEditPoints="1"/>
          </p:cNvSpPr>
          <p:nvPr/>
        </p:nvSpPr>
        <p:spPr bwMode="auto">
          <a:xfrm>
            <a:off x="695325" y="857250"/>
            <a:ext cx="3474265" cy="3436085"/>
          </a:xfrm>
          <a:custGeom>
            <a:avLst/>
            <a:gdLst>
              <a:gd name="T0" fmla="*/ 644 w 1274"/>
              <a:gd name="T1" fmla="*/ 1030 h 1257"/>
              <a:gd name="T2" fmla="*/ 774 w 1274"/>
              <a:gd name="T3" fmla="*/ 1030 h 1257"/>
              <a:gd name="T4" fmla="*/ 887 w 1274"/>
              <a:gd name="T5" fmla="*/ 812 h 1257"/>
              <a:gd name="T6" fmla="*/ 893 w 1274"/>
              <a:gd name="T7" fmla="*/ 705 h 1257"/>
              <a:gd name="T8" fmla="*/ 897 w 1274"/>
              <a:gd name="T9" fmla="*/ 930 h 1257"/>
              <a:gd name="T10" fmla="*/ 492 w 1274"/>
              <a:gd name="T11" fmla="*/ 644 h 1257"/>
              <a:gd name="T12" fmla="*/ 632 w 1274"/>
              <a:gd name="T13" fmla="*/ 644 h 1257"/>
              <a:gd name="T14" fmla="*/ 420 w 1274"/>
              <a:gd name="T15" fmla="*/ 787 h 1257"/>
              <a:gd name="T16" fmla="*/ 420 w 1274"/>
              <a:gd name="T17" fmla="*/ 787 h 1257"/>
              <a:gd name="T18" fmla="*/ 395 w 1274"/>
              <a:gd name="T19" fmla="*/ 935 h 1257"/>
              <a:gd name="T20" fmla="*/ 584 w 1274"/>
              <a:gd name="T21" fmla="*/ 1169 h 1257"/>
              <a:gd name="T22" fmla="*/ 507 w 1274"/>
              <a:gd name="T23" fmla="*/ 1049 h 1257"/>
              <a:gd name="T24" fmla="*/ 508 w 1274"/>
              <a:gd name="T25" fmla="*/ 1179 h 1257"/>
              <a:gd name="T26" fmla="*/ 387 w 1274"/>
              <a:gd name="T27" fmla="*/ 1167 h 1257"/>
              <a:gd name="T28" fmla="*/ 272 w 1274"/>
              <a:gd name="T29" fmla="*/ 1025 h 1257"/>
              <a:gd name="T30" fmla="*/ 156 w 1274"/>
              <a:gd name="T31" fmla="*/ 1252 h 1257"/>
              <a:gd name="T32" fmla="*/ 309 w 1274"/>
              <a:gd name="T33" fmla="*/ 1252 h 1257"/>
              <a:gd name="T34" fmla="*/ 170 w 1274"/>
              <a:gd name="T35" fmla="*/ 966 h 1257"/>
              <a:gd name="T36" fmla="*/ 75 w 1274"/>
              <a:gd name="T37" fmla="*/ 1134 h 1257"/>
              <a:gd name="T38" fmla="*/ 75 w 1274"/>
              <a:gd name="T39" fmla="*/ 1027 h 1257"/>
              <a:gd name="T40" fmla="*/ 1 w 1274"/>
              <a:gd name="T41" fmla="*/ 644 h 1257"/>
              <a:gd name="T42" fmla="*/ 71 w 1274"/>
              <a:gd name="T43" fmla="*/ 717 h 1257"/>
              <a:gd name="T44" fmla="*/ 204 w 1274"/>
              <a:gd name="T45" fmla="*/ 717 h 1257"/>
              <a:gd name="T46" fmla="*/ 168 w 1274"/>
              <a:gd name="T47" fmla="*/ 644 h 1257"/>
              <a:gd name="T48" fmla="*/ 72 w 1274"/>
              <a:gd name="T49" fmla="*/ 523 h 1257"/>
              <a:gd name="T50" fmla="*/ 197 w 1274"/>
              <a:gd name="T51" fmla="*/ 525 h 1257"/>
              <a:gd name="T52" fmla="*/ 120 w 1274"/>
              <a:gd name="T53" fmla="*/ 405 h 1257"/>
              <a:gd name="T54" fmla="*/ 121 w 1274"/>
              <a:gd name="T55" fmla="*/ 535 h 1257"/>
              <a:gd name="T56" fmla="*/ 122 w 1274"/>
              <a:gd name="T57" fmla="*/ 197 h 1257"/>
              <a:gd name="T58" fmla="*/ 95 w 1274"/>
              <a:gd name="T59" fmla="*/ 163 h 1257"/>
              <a:gd name="T60" fmla="*/ 74 w 1274"/>
              <a:gd name="T61" fmla="*/ 112 h 1257"/>
              <a:gd name="T62" fmla="*/ 146 w 1274"/>
              <a:gd name="T63" fmla="*/ 136 h 1257"/>
              <a:gd name="T64" fmla="*/ 0 w 1274"/>
              <a:gd name="T65" fmla="*/ 0 h 1257"/>
              <a:gd name="T66" fmla="*/ 146 w 1274"/>
              <a:gd name="T67" fmla="*/ 136 h 1257"/>
              <a:gd name="T68" fmla="*/ 291 w 1274"/>
              <a:gd name="T69" fmla="*/ 225 h 1257"/>
              <a:gd name="T70" fmla="*/ 291 w 1274"/>
              <a:gd name="T71" fmla="*/ 110 h 1257"/>
              <a:gd name="T72" fmla="*/ 217 w 1274"/>
              <a:gd name="T73" fmla="*/ 0 h 1257"/>
              <a:gd name="T74" fmla="*/ 331 w 1274"/>
              <a:gd name="T75" fmla="*/ 322 h 1257"/>
              <a:gd name="T76" fmla="*/ 286 w 1274"/>
              <a:gd name="T77" fmla="*/ 322 h 1257"/>
              <a:gd name="T78" fmla="*/ 405 w 1274"/>
              <a:gd name="T79" fmla="*/ 509 h 1257"/>
              <a:gd name="T80" fmla="*/ 505 w 1274"/>
              <a:gd name="T81" fmla="*/ 376 h 1257"/>
              <a:gd name="T82" fmla="*/ 635 w 1274"/>
              <a:gd name="T83" fmla="*/ 608 h 1257"/>
              <a:gd name="T84" fmla="*/ 623 w 1274"/>
              <a:gd name="T85" fmla="*/ 531 h 1257"/>
              <a:gd name="T86" fmla="*/ 547 w 1274"/>
              <a:gd name="T87" fmla="*/ 322 h 1257"/>
              <a:gd name="T88" fmla="*/ 505 w 1274"/>
              <a:gd name="T89" fmla="*/ 493 h 1257"/>
              <a:gd name="T90" fmla="*/ 556 w 1274"/>
              <a:gd name="T91" fmla="*/ 608 h 1257"/>
              <a:gd name="T92" fmla="*/ 725 w 1274"/>
              <a:gd name="T93" fmla="*/ 547 h 1257"/>
              <a:gd name="T94" fmla="*/ 725 w 1274"/>
              <a:gd name="T95" fmla="*/ 432 h 1257"/>
              <a:gd name="T96" fmla="*/ 651 w 1274"/>
              <a:gd name="T97" fmla="*/ 322 h 1257"/>
              <a:gd name="T98" fmla="*/ 914 w 1274"/>
              <a:gd name="T99" fmla="*/ 529 h 1257"/>
              <a:gd name="T100" fmla="*/ 963 w 1274"/>
              <a:gd name="T101" fmla="*/ 1252 h 1257"/>
              <a:gd name="T102" fmla="*/ 953 w 1274"/>
              <a:gd name="T103" fmla="*/ 1134 h 1257"/>
              <a:gd name="T104" fmla="*/ 959 w 1274"/>
              <a:gd name="T105" fmla="*/ 1027 h 1257"/>
              <a:gd name="T106" fmla="*/ 1103 w 1274"/>
              <a:gd name="T107" fmla="*/ 1053 h 1257"/>
              <a:gd name="T108" fmla="*/ 1072 w 1274"/>
              <a:gd name="T109" fmla="*/ 1020 h 1257"/>
              <a:gd name="T110" fmla="*/ 1188 w 1274"/>
              <a:gd name="T111" fmla="*/ 1248 h 1257"/>
              <a:gd name="T112" fmla="*/ 1129 w 1274"/>
              <a:gd name="T113" fmla="*/ 1111 h 1257"/>
              <a:gd name="T114" fmla="*/ 983 w 1274"/>
              <a:gd name="T115" fmla="*/ 966 h 1257"/>
              <a:gd name="T116" fmla="*/ 1077 w 1274"/>
              <a:gd name="T117" fmla="*/ 1137 h 1257"/>
              <a:gd name="T118" fmla="*/ 1274 w 1274"/>
              <a:gd name="T119" fmla="*/ 1173 h 1257"/>
              <a:gd name="T120" fmla="*/ 1274 w 1274"/>
              <a:gd name="T121" fmla="*/ 1173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74" h="1257">
                <a:moveTo>
                  <a:pt x="774" y="966"/>
                </a:moveTo>
                <a:cubicBezTo>
                  <a:pt x="588" y="966"/>
                  <a:pt x="588" y="966"/>
                  <a:pt x="588" y="966"/>
                </a:cubicBezTo>
                <a:cubicBezTo>
                  <a:pt x="588" y="1030"/>
                  <a:pt x="588" y="1030"/>
                  <a:pt x="588" y="1030"/>
                </a:cubicBezTo>
                <a:cubicBezTo>
                  <a:pt x="644" y="1030"/>
                  <a:pt x="644" y="1030"/>
                  <a:pt x="644" y="1030"/>
                </a:cubicBezTo>
                <a:cubicBezTo>
                  <a:pt x="644" y="1252"/>
                  <a:pt x="644" y="1252"/>
                  <a:pt x="644" y="1252"/>
                </a:cubicBezTo>
                <a:cubicBezTo>
                  <a:pt x="718" y="1252"/>
                  <a:pt x="718" y="1252"/>
                  <a:pt x="718" y="1252"/>
                </a:cubicBezTo>
                <a:cubicBezTo>
                  <a:pt x="718" y="1030"/>
                  <a:pt x="718" y="1030"/>
                  <a:pt x="718" y="1030"/>
                </a:cubicBezTo>
                <a:cubicBezTo>
                  <a:pt x="774" y="1030"/>
                  <a:pt x="774" y="1030"/>
                  <a:pt x="774" y="1030"/>
                </a:cubicBezTo>
                <a:lnTo>
                  <a:pt x="774" y="966"/>
                </a:lnTo>
                <a:close/>
                <a:moveTo>
                  <a:pt x="799" y="869"/>
                </a:moveTo>
                <a:cubicBezTo>
                  <a:pt x="799" y="812"/>
                  <a:pt x="799" y="812"/>
                  <a:pt x="799" y="812"/>
                </a:cubicBezTo>
                <a:cubicBezTo>
                  <a:pt x="887" y="812"/>
                  <a:pt x="887" y="812"/>
                  <a:pt x="887" y="812"/>
                </a:cubicBezTo>
                <a:cubicBezTo>
                  <a:pt x="887" y="754"/>
                  <a:pt x="887" y="754"/>
                  <a:pt x="887" y="754"/>
                </a:cubicBezTo>
                <a:cubicBezTo>
                  <a:pt x="799" y="754"/>
                  <a:pt x="799" y="754"/>
                  <a:pt x="799" y="754"/>
                </a:cubicBezTo>
                <a:cubicBezTo>
                  <a:pt x="799" y="705"/>
                  <a:pt x="799" y="705"/>
                  <a:pt x="799" y="705"/>
                </a:cubicBezTo>
                <a:cubicBezTo>
                  <a:pt x="893" y="705"/>
                  <a:pt x="893" y="705"/>
                  <a:pt x="893" y="705"/>
                </a:cubicBezTo>
                <a:cubicBezTo>
                  <a:pt x="893" y="644"/>
                  <a:pt x="893" y="644"/>
                  <a:pt x="893" y="644"/>
                </a:cubicBezTo>
                <a:cubicBezTo>
                  <a:pt x="724" y="644"/>
                  <a:pt x="724" y="644"/>
                  <a:pt x="724" y="644"/>
                </a:cubicBezTo>
                <a:cubicBezTo>
                  <a:pt x="724" y="930"/>
                  <a:pt x="724" y="930"/>
                  <a:pt x="724" y="930"/>
                </a:cubicBezTo>
                <a:cubicBezTo>
                  <a:pt x="897" y="930"/>
                  <a:pt x="897" y="930"/>
                  <a:pt x="897" y="930"/>
                </a:cubicBezTo>
                <a:cubicBezTo>
                  <a:pt x="897" y="869"/>
                  <a:pt x="897" y="869"/>
                  <a:pt x="897" y="869"/>
                </a:cubicBezTo>
                <a:lnTo>
                  <a:pt x="799" y="869"/>
                </a:lnTo>
                <a:close/>
                <a:moveTo>
                  <a:pt x="571" y="644"/>
                </a:moveTo>
                <a:cubicBezTo>
                  <a:pt x="492" y="644"/>
                  <a:pt x="492" y="644"/>
                  <a:pt x="492" y="644"/>
                </a:cubicBezTo>
                <a:cubicBezTo>
                  <a:pt x="553" y="930"/>
                  <a:pt x="553" y="930"/>
                  <a:pt x="553" y="930"/>
                </a:cubicBezTo>
                <a:cubicBezTo>
                  <a:pt x="649" y="930"/>
                  <a:pt x="649" y="930"/>
                  <a:pt x="649" y="930"/>
                </a:cubicBezTo>
                <a:cubicBezTo>
                  <a:pt x="711" y="644"/>
                  <a:pt x="711" y="644"/>
                  <a:pt x="711" y="644"/>
                </a:cubicBezTo>
                <a:cubicBezTo>
                  <a:pt x="632" y="644"/>
                  <a:pt x="632" y="644"/>
                  <a:pt x="632" y="644"/>
                </a:cubicBezTo>
                <a:cubicBezTo>
                  <a:pt x="602" y="859"/>
                  <a:pt x="602" y="859"/>
                  <a:pt x="602" y="859"/>
                </a:cubicBezTo>
                <a:cubicBezTo>
                  <a:pt x="601" y="859"/>
                  <a:pt x="601" y="859"/>
                  <a:pt x="601" y="859"/>
                </a:cubicBezTo>
                <a:lnTo>
                  <a:pt x="571" y="644"/>
                </a:lnTo>
                <a:close/>
                <a:moveTo>
                  <a:pt x="420" y="787"/>
                </a:moveTo>
                <a:cubicBezTo>
                  <a:pt x="420" y="864"/>
                  <a:pt x="417" y="885"/>
                  <a:pt x="395" y="885"/>
                </a:cubicBezTo>
                <a:cubicBezTo>
                  <a:pt x="372" y="885"/>
                  <a:pt x="369" y="864"/>
                  <a:pt x="369" y="787"/>
                </a:cubicBezTo>
                <a:cubicBezTo>
                  <a:pt x="369" y="710"/>
                  <a:pt x="372" y="689"/>
                  <a:pt x="395" y="689"/>
                </a:cubicBezTo>
                <a:cubicBezTo>
                  <a:pt x="417" y="689"/>
                  <a:pt x="420" y="710"/>
                  <a:pt x="420" y="787"/>
                </a:cubicBezTo>
                <a:moveTo>
                  <a:pt x="496" y="787"/>
                </a:moveTo>
                <a:cubicBezTo>
                  <a:pt x="496" y="680"/>
                  <a:pt x="471" y="639"/>
                  <a:pt x="395" y="639"/>
                </a:cubicBezTo>
                <a:cubicBezTo>
                  <a:pt x="319" y="639"/>
                  <a:pt x="293" y="680"/>
                  <a:pt x="293" y="787"/>
                </a:cubicBezTo>
                <a:cubicBezTo>
                  <a:pt x="293" y="894"/>
                  <a:pt x="319" y="935"/>
                  <a:pt x="395" y="935"/>
                </a:cubicBezTo>
                <a:cubicBezTo>
                  <a:pt x="471" y="935"/>
                  <a:pt x="496" y="894"/>
                  <a:pt x="496" y="787"/>
                </a:cubicBezTo>
                <a:moveTo>
                  <a:pt x="387" y="1177"/>
                </a:moveTo>
                <a:cubicBezTo>
                  <a:pt x="387" y="1236"/>
                  <a:pt x="422" y="1257"/>
                  <a:pt x="483" y="1257"/>
                </a:cubicBezTo>
                <a:cubicBezTo>
                  <a:pt x="549" y="1257"/>
                  <a:pt x="584" y="1230"/>
                  <a:pt x="584" y="1169"/>
                </a:cubicBezTo>
                <a:cubicBezTo>
                  <a:pt x="584" y="1065"/>
                  <a:pt x="463" y="1093"/>
                  <a:pt x="463" y="1036"/>
                </a:cubicBezTo>
                <a:cubicBezTo>
                  <a:pt x="463" y="1024"/>
                  <a:pt x="470" y="1011"/>
                  <a:pt x="486" y="1011"/>
                </a:cubicBezTo>
                <a:cubicBezTo>
                  <a:pt x="500" y="1011"/>
                  <a:pt x="507" y="1025"/>
                  <a:pt x="507" y="1042"/>
                </a:cubicBezTo>
                <a:cubicBezTo>
                  <a:pt x="507" y="1049"/>
                  <a:pt x="507" y="1049"/>
                  <a:pt x="507" y="1049"/>
                </a:cubicBezTo>
                <a:cubicBezTo>
                  <a:pt x="577" y="1049"/>
                  <a:pt x="577" y="1049"/>
                  <a:pt x="577" y="1049"/>
                </a:cubicBezTo>
                <a:cubicBezTo>
                  <a:pt x="577" y="988"/>
                  <a:pt x="549" y="961"/>
                  <a:pt x="485" y="961"/>
                </a:cubicBezTo>
                <a:cubicBezTo>
                  <a:pt x="422" y="961"/>
                  <a:pt x="391" y="992"/>
                  <a:pt x="391" y="1050"/>
                </a:cubicBezTo>
                <a:cubicBezTo>
                  <a:pt x="391" y="1151"/>
                  <a:pt x="508" y="1123"/>
                  <a:pt x="508" y="1179"/>
                </a:cubicBezTo>
                <a:cubicBezTo>
                  <a:pt x="508" y="1195"/>
                  <a:pt x="499" y="1207"/>
                  <a:pt x="484" y="1207"/>
                </a:cubicBezTo>
                <a:cubicBezTo>
                  <a:pt x="469" y="1207"/>
                  <a:pt x="459" y="1198"/>
                  <a:pt x="459" y="1174"/>
                </a:cubicBezTo>
                <a:cubicBezTo>
                  <a:pt x="459" y="1167"/>
                  <a:pt x="459" y="1167"/>
                  <a:pt x="459" y="1167"/>
                </a:cubicBezTo>
                <a:cubicBezTo>
                  <a:pt x="387" y="1167"/>
                  <a:pt x="387" y="1167"/>
                  <a:pt x="387" y="1167"/>
                </a:cubicBezTo>
                <a:lnTo>
                  <a:pt x="387" y="1177"/>
                </a:lnTo>
                <a:close/>
                <a:moveTo>
                  <a:pt x="251" y="1146"/>
                </a:moveTo>
                <a:cubicBezTo>
                  <a:pt x="272" y="1025"/>
                  <a:pt x="272" y="1025"/>
                  <a:pt x="272" y="1025"/>
                </a:cubicBezTo>
                <a:cubicBezTo>
                  <a:pt x="272" y="1025"/>
                  <a:pt x="272" y="1025"/>
                  <a:pt x="272" y="1025"/>
                </a:cubicBezTo>
                <a:cubicBezTo>
                  <a:pt x="293" y="1146"/>
                  <a:pt x="293" y="1146"/>
                  <a:pt x="293" y="1146"/>
                </a:cubicBezTo>
                <a:lnTo>
                  <a:pt x="251" y="1146"/>
                </a:lnTo>
                <a:close/>
                <a:moveTo>
                  <a:pt x="225" y="966"/>
                </a:moveTo>
                <a:cubicBezTo>
                  <a:pt x="156" y="1252"/>
                  <a:pt x="156" y="1252"/>
                  <a:pt x="156" y="1252"/>
                </a:cubicBezTo>
                <a:cubicBezTo>
                  <a:pt x="235" y="1252"/>
                  <a:pt x="235" y="1252"/>
                  <a:pt x="235" y="1252"/>
                </a:cubicBezTo>
                <a:cubicBezTo>
                  <a:pt x="243" y="1202"/>
                  <a:pt x="243" y="1202"/>
                  <a:pt x="243" y="1202"/>
                </a:cubicBezTo>
                <a:cubicBezTo>
                  <a:pt x="302" y="1202"/>
                  <a:pt x="302" y="1202"/>
                  <a:pt x="302" y="1202"/>
                </a:cubicBezTo>
                <a:cubicBezTo>
                  <a:pt x="309" y="1252"/>
                  <a:pt x="309" y="1252"/>
                  <a:pt x="309" y="1252"/>
                </a:cubicBezTo>
                <a:cubicBezTo>
                  <a:pt x="388" y="1252"/>
                  <a:pt x="388" y="1252"/>
                  <a:pt x="388" y="1252"/>
                </a:cubicBezTo>
                <a:cubicBezTo>
                  <a:pt x="319" y="966"/>
                  <a:pt x="319" y="966"/>
                  <a:pt x="319" y="966"/>
                </a:cubicBezTo>
                <a:lnTo>
                  <a:pt x="225" y="966"/>
                </a:lnTo>
                <a:close/>
                <a:moveTo>
                  <a:pt x="170" y="966"/>
                </a:moveTo>
                <a:cubicBezTo>
                  <a:pt x="1" y="966"/>
                  <a:pt x="1" y="966"/>
                  <a:pt x="1" y="966"/>
                </a:cubicBezTo>
                <a:cubicBezTo>
                  <a:pt x="1" y="1252"/>
                  <a:pt x="1" y="1252"/>
                  <a:pt x="1" y="1252"/>
                </a:cubicBezTo>
                <a:cubicBezTo>
                  <a:pt x="75" y="1252"/>
                  <a:pt x="75" y="1252"/>
                  <a:pt x="75" y="1252"/>
                </a:cubicBezTo>
                <a:cubicBezTo>
                  <a:pt x="75" y="1134"/>
                  <a:pt x="75" y="1134"/>
                  <a:pt x="75" y="1134"/>
                </a:cubicBezTo>
                <a:cubicBezTo>
                  <a:pt x="164" y="1134"/>
                  <a:pt x="164" y="1134"/>
                  <a:pt x="164" y="1134"/>
                </a:cubicBezTo>
                <a:cubicBezTo>
                  <a:pt x="164" y="1076"/>
                  <a:pt x="164" y="1076"/>
                  <a:pt x="164" y="1076"/>
                </a:cubicBezTo>
                <a:cubicBezTo>
                  <a:pt x="75" y="1076"/>
                  <a:pt x="75" y="1076"/>
                  <a:pt x="75" y="1076"/>
                </a:cubicBezTo>
                <a:cubicBezTo>
                  <a:pt x="75" y="1027"/>
                  <a:pt x="75" y="1027"/>
                  <a:pt x="75" y="1027"/>
                </a:cubicBezTo>
                <a:cubicBezTo>
                  <a:pt x="170" y="1027"/>
                  <a:pt x="170" y="1027"/>
                  <a:pt x="170" y="1027"/>
                </a:cubicBezTo>
                <a:lnTo>
                  <a:pt x="170" y="966"/>
                </a:lnTo>
                <a:close/>
                <a:moveTo>
                  <a:pt x="107" y="644"/>
                </a:moveTo>
                <a:cubicBezTo>
                  <a:pt x="1" y="644"/>
                  <a:pt x="1" y="644"/>
                  <a:pt x="1" y="644"/>
                </a:cubicBezTo>
                <a:cubicBezTo>
                  <a:pt x="1" y="930"/>
                  <a:pt x="1" y="930"/>
                  <a:pt x="1" y="930"/>
                </a:cubicBezTo>
                <a:cubicBezTo>
                  <a:pt x="70" y="930"/>
                  <a:pt x="70" y="930"/>
                  <a:pt x="70" y="930"/>
                </a:cubicBezTo>
                <a:cubicBezTo>
                  <a:pt x="70" y="717"/>
                  <a:pt x="70" y="717"/>
                  <a:pt x="70" y="717"/>
                </a:cubicBezTo>
                <a:cubicBezTo>
                  <a:pt x="71" y="717"/>
                  <a:pt x="71" y="717"/>
                  <a:pt x="71" y="717"/>
                </a:cubicBezTo>
                <a:cubicBezTo>
                  <a:pt x="110" y="930"/>
                  <a:pt x="110" y="930"/>
                  <a:pt x="110" y="930"/>
                </a:cubicBezTo>
                <a:cubicBezTo>
                  <a:pt x="164" y="930"/>
                  <a:pt x="164" y="930"/>
                  <a:pt x="164" y="930"/>
                </a:cubicBezTo>
                <a:cubicBezTo>
                  <a:pt x="204" y="717"/>
                  <a:pt x="204" y="717"/>
                  <a:pt x="204" y="717"/>
                </a:cubicBezTo>
                <a:cubicBezTo>
                  <a:pt x="204" y="717"/>
                  <a:pt x="204" y="717"/>
                  <a:pt x="204" y="717"/>
                </a:cubicBezTo>
                <a:cubicBezTo>
                  <a:pt x="204" y="930"/>
                  <a:pt x="204" y="930"/>
                  <a:pt x="204" y="930"/>
                </a:cubicBezTo>
                <a:cubicBezTo>
                  <a:pt x="274" y="930"/>
                  <a:pt x="274" y="930"/>
                  <a:pt x="274" y="930"/>
                </a:cubicBezTo>
                <a:cubicBezTo>
                  <a:pt x="274" y="644"/>
                  <a:pt x="274" y="644"/>
                  <a:pt x="274" y="644"/>
                </a:cubicBezTo>
                <a:cubicBezTo>
                  <a:pt x="168" y="644"/>
                  <a:pt x="168" y="644"/>
                  <a:pt x="168" y="644"/>
                </a:cubicBezTo>
                <a:cubicBezTo>
                  <a:pt x="138" y="813"/>
                  <a:pt x="138" y="813"/>
                  <a:pt x="138" y="813"/>
                </a:cubicBezTo>
                <a:cubicBezTo>
                  <a:pt x="137" y="813"/>
                  <a:pt x="137" y="813"/>
                  <a:pt x="137" y="813"/>
                </a:cubicBezTo>
                <a:lnTo>
                  <a:pt x="107" y="644"/>
                </a:lnTo>
                <a:close/>
                <a:moveTo>
                  <a:pt x="72" y="523"/>
                </a:moveTo>
                <a:cubicBezTo>
                  <a:pt x="0" y="523"/>
                  <a:pt x="0" y="523"/>
                  <a:pt x="0" y="52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92"/>
                  <a:pt x="35" y="613"/>
                  <a:pt x="96" y="613"/>
                </a:cubicBezTo>
                <a:cubicBezTo>
                  <a:pt x="162" y="613"/>
                  <a:pt x="197" y="586"/>
                  <a:pt x="197" y="525"/>
                </a:cubicBezTo>
                <a:cubicBezTo>
                  <a:pt x="197" y="421"/>
                  <a:pt x="76" y="449"/>
                  <a:pt x="76" y="392"/>
                </a:cubicBezTo>
                <a:cubicBezTo>
                  <a:pt x="76" y="380"/>
                  <a:pt x="83" y="367"/>
                  <a:pt x="99" y="367"/>
                </a:cubicBezTo>
                <a:cubicBezTo>
                  <a:pt x="113" y="367"/>
                  <a:pt x="120" y="381"/>
                  <a:pt x="120" y="398"/>
                </a:cubicBezTo>
                <a:cubicBezTo>
                  <a:pt x="120" y="405"/>
                  <a:pt x="120" y="405"/>
                  <a:pt x="120" y="405"/>
                </a:cubicBezTo>
                <a:cubicBezTo>
                  <a:pt x="190" y="405"/>
                  <a:pt x="190" y="405"/>
                  <a:pt x="190" y="405"/>
                </a:cubicBezTo>
                <a:cubicBezTo>
                  <a:pt x="190" y="344"/>
                  <a:pt x="162" y="317"/>
                  <a:pt x="97" y="317"/>
                </a:cubicBezTo>
                <a:cubicBezTo>
                  <a:pt x="35" y="317"/>
                  <a:pt x="4" y="348"/>
                  <a:pt x="4" y="406"/>
                </a:cubicBezTo>
                <a:cubicBezTo>
                  <a:pt x="4" y="507"/>
                  <a:pt x="121" y="479"/>
                  <a:pt x="121" y="535"/>
                </a:cubicBezTo>
                <a:cubicBezTo>
                  <a:pt x="121" y="551"/>
                  <a:pt x="112" y="563"/>
                  <a:pt x="97" y="563"/>
                </a:cubicBezTo>
                <a:cubicBezTo>
                  <a:pt x="82" y="563"/>
                  <a:pt x="72" y="554"/>
                  <a:pt x="72" y="530"/>
                </a:cubicBezTo>
                <a:lnTo>
                  <a:pt x="72" y="523"/>
                </a:lnTo>
                <a:close/>
                <a:moveTo>
                  <a:pt x="122" y="197"/>
                </a:moveTo>
                <a:cubicBezTo>
                  <a:pt x="122" y="220"/>
                  <a:pt x="109" y="232"/>
                  <a:pt x="95" y="232"/>
                </a:cubicBezTo>
                <a:cubicBezTo>
                  <a:pt x="74" y="232"/>
                  <a:pt x="74" y="232"/>
                  <a:pt x="74" y="232"/>
                </a:cubicBezTo>
                <a:cubicBezTo>
                  <a:pt x="74" y="163"/>
                  <a:pt x="74" y="163"/>
                  <a:pt x="74" y="163"/>
                </a:cubicBezTo>
                <a:cubicBezTo>
                  <a:pt x="95" y="163"/>
                  <a:pt x="95" y="163"/>
                  <a:pt x="95" y="163"/>
                </a:cubicBezTo>
                <a:cubicBezTo>
                  <a:pt x="109" y="163"/>
                  <a:pt x="122" y="175"/>
                  <a:pt x="122" y="197"/>
                </a:cubicBezTo>
                <a:moveTo>
                  <a:pt x="116" y="83"/>
                </a:moveTo>
                <a:cubicBezTo>
                  <a:pt x="116" y="99"/>
                  <a:pt x="108" y="112"/>
                  <a:pt x="92" y="112"/>
                </a:cubicBezTo>
                <a:cubicBezTo>
                  <a:pt x="74" y="112"/>
                  <a:pt x="74" y="112"/>
                  <a:pt x="74" y="112"/>
                </a:cubicBezTo>
                <a:cubicBezTo>
                  <a:pt x="74" y="54"/>
                  <a:pt x="74" y="54"/>
                  <a:pt x="74" y="54"/>
                </a:cubicBezTo>
                <a:cubicBezTo>
                  <a:pt x="92" y="54"/>
                  <a:pt x="92" y="54"/>
                  <a:pt x="92" y="54"/>
                </a:cubicBezTo>
                <a:cubicBezTo>
                  <a:pt x="108" y="54"/>
                  <a:pt x="116" y="67"/>
                  <a:pt x="116" y="83"/>
                </a:cubicBezTo>
                <a:moveTo>
                  <a:pt x="146" y="136"/>
                </a:moveTo>
                <a:cubicBezTo>
                  <a:pt x="146" y="135"/>
                  <a:pt x="146" y="135"/>
                  <a:pt x="146" y="135"/>
                </a:cubicBezTo>
                <a:cubicBezTo>
                  <a:pt x="177" y="129"/>
                  <a:pt x="190" y="102"/>
                  <a:pt x="190" y="71"/>
                </a:cubicBezTo>
                <a:cubicBezTo>
                  <a:pt x="190" y="29"/>
                  <a:pt x="166" y="0"/>
                  <a:pt x="11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86"/>
                  <a:pt x="0" y="286"/>
                  <a:pt x="0" y="286"/>
                </a:cubicBezTo>
                <a:cubicBezTo>
                  <a:pt x="112" y="286"/>
                  <a:pt x="112" y="286"/>
                  <a:pt x="112" y="286"/>
                </a:cubicBezTo>
                <a:cubicBezTo>
                  <a:pt x="174" y="286"/>
                  <a:pt x="198" y="251"/>
                  <a:pt x="198" y="201"/>
                </a:cubicBezTo>
                <a:cubicBezTo>
                  <a:pt x="198" y="172"/>
                  <a:pt x="183" y="140"/>
                  <a:pt x="146" y="136"/>
                </a:cubicBezTo>
                <a:moveTo>
                  <a:pt x="217" y="286"/>
                </a:moveTo>
                <a:cubicBezTo>
                  <a:pt x="390" y="286"/>
                  <a:pt x="390" y="286"/>
                  <a:pt x="390" y="286"/>
                </a:cubicBezTo>
                <a:cubicBezTo>
                  <a:pt x="390" y="225"/>
                  <a:pt x="390" y="225"/>
                  <a:pt x="390" y="225"/>
                </a:cubicBezTo>
                <a:cubicBezTo>
                  <a:pt x="291" y="225"/>
                  <a:pt x="291" y="225"/>
                  <a:pt x="291" y="225"/>
                </a:cubicBezTo>
                <a:cubicBezTo>
                  <a:pt x="291" y="168"/>
                  <a:pt x="291" y="168"/>
                  <a:pt x="291" y="168"/>
                </a:cubicBezTo>
                <a:cubicBezTo>
                  <a:pt x="380" y="168"/>
                  <a:pt x="380" y="168"/>
                  <a:pt x="380" y="168"/>
                </a:cubicBezTo>
                <a:cubicBezTo>
                  <a:pt x="380" y="110"/>
                  <a:pt x="380" y="110"/>
                  <a:pt x="380" y="110"/>
                </a:cubicBezTo>
                <a:cubicBezTo>
                  <a:pt x="291" y="110"/>
                  <a:pt x="291" y="110"/>
                  <a:pt x="291" y="110"/>
                </a:cubicBezTo>
                <a:cubicBezTo>
                  <a:pt x="291" y="61"/>
                  <a:pt x="291" y="61"/>
                  <a:pt x="291" y="61"/>
                </a:cubicBezTo>
                <a:cubicBezTo>
                  <a:pt x="386" y="61"/>
                  <a:pt x="386" y="61"/>
                  <a:pt x="386" y="61"/>
                </a:cubicBezTo>
                <a:cubicBezTo>
                  <a:pt x="386" y="0"/>
                  <a:pt x="386" y="0"/>
                  <a:pt x="386" y="0"/>
                </a:cubicBezTo>
                <a:cubicBezTo>
                  <a:pt x="217" y="0"/>
                  <a:pt x="217" y="0"/>
                  <a:pt x="217" y="0"/>
                </a:cubicBezTo>
                <a:lnTo>
                  <a:pt x="217" y="286"/>
                </a:lnTo>
                <a:close/>
                <a:moveTo>
                  <a:pt x="405" y="509"/>
                </a:moveTo>
                <a:cubicBezTo>
                  <a:pt x="405" y="322"/>
                  <a:pt x="405" y="322"/>
                  <a:pt x="405" y="322"/>
                </a:cubicBezTo>
                <a:cubicBezTo>
                  <a:pt x="331" y="322"/>
                  <a:pt x="331" y="322"/>
                  <a:pt x="331" y="322"/>
                </a:cubicBezTo>
                <a:cubicBezTo>
                  <a:pt x="331" y="528"/>
                  <a:pt x="331" y="528"/>
                  <a:pt x="331" y="528"/>
                </a:cubicBezTo>
                <a:cubicBezTo>
                  <a:pt x="331" y="556"/>
                  <a:pt x="323" y="563"/>
                  <a:pt x="309" y="563"/>
                </a:cubicBezTo>
                <a:cubicBezTo>
                  <a:pt x="295" y="563"/>
                  <a:pt x="286" y="556"/>
                  <a:pt x="286" y="528"/>
                </a:cubicBezTo>
                <a:cubicBezTo>
                  <a:pt x="286" y="322"/>
                  <a:pt x="286" y="322"/>
                  <a:pt x="286" y="322"/>
                </a:cubicBezTo>
                <a:cubicBezTo>
                  <a:pt x="212" y="322"/>
                  <a:pt x="212" y="322"/>
                  <a:pt x="212" y="322"/>
                </a:cubicBezTo>
                <a:cubicBezTo>
                  <a:pt x="212" y="509"/>
                  <a:pt x="212" y="509"/>
                  <a:pt x="212" y="509"/>
                </a:cubicBezTo>
                <a:cubicBezTo>
                  <a:pt x="212" y="589"/>
                  <a:pt x="246" y="613"/>
                  <a:pt x="309" y="613"/>
                </a:cubicBezTo>
                <a:cubicBezTo>
                  <a:pt x="371" y="613"/>
                  <a:pt x="405" y="589"/>
                  <a:pt x="405" y="509"/>
                </a:cubicBezTo>
                <a:moveTo>
                  <a:pt x="551" y="409"/>
                </a:moveTo>
                <a:cubicBezTo>
                  <a:pt x="551" y="429"/>
                  <a:pt x="541" y="443"/>
                  <a:pt x="520" y="443"/>
                </a:cubicBezTo>
                <a:cubicBezTo>
                  <a:pt x="505" y="443"/>
                  <a:pt x="505" y="443"/>
                  <a:pt x="505" y="443"/>
                </a:cubicBezTo>
                <a:cubicBezTo>
                  <a:pt x="505" y="376"/>
                  <a:pt x="505" y="376"/>
                  <a:pt x="505" y="376"/>
                </a:cubicBezTo>
                <a:cubicBezTo>
                  <a:pt x="519" y="376"/>
                  <a:pt x="519" y="376"/>
                  <a:pt x="519" y="376"/>
                </a:cubicBezTo>
                <a:cubicBezTo>
                  <a:pt x="542" y="376"/>
                  <a:pt x="551" y="386"/>
                  <a:pt x="551" y="409"/>
                </a:cubicBezTo>
                <a:moveTo>
                  <a:pt x="556" y="608"/>
                </a:moveTo>
                <a:cubicBezTo>
                  <a:pt x="635" y="608"/>
                  <a:pt x="635" y="608"/>
                  <a:pt x="635" y="608"/>
                </a:cubicBezTo>
                <a:cubicBezTo>
                  <a:pt x="635" y="604"/>
                  <a:pt x="635" y="604"/>
                  <a:pt x="635" y="604"/>
                </a:cubicBezTo>
                <a:cubicBezTo>
                  <a:pt x="631" y="601"/>
                  <a:pt x="629" y="598"/>
                  <a:pt x="627" y="595"/>
                </a:cubicBezTo>
                <a:cubicBezTo>
                  <a:pt x="623" y="589"/>
                  <a:pt x="623" y="570"/>
                  <a:pt x="623" y="555"/>
                </a:cubicBezTo>
                <a:cubicBezTo>
                  <a:pt x="623" y="531"/>
                  <a:pt x="623" y="531"/>
                  <a:pt x="623" y="531"/>
                </a:cubicBezTo>
                <a:cubicBezTo>
                  <a:pt x="623" y="493"/>
                  <a:pt x="613" y="470"/>
                  <a:pt x="577" y="467"/>
                </a:cubicBezTo>
                <a:cubicBezTo>
                  <a:pt x="577" y="466"/>
                  <a:pt x="577" y="466"/>
                  <a:pt x="577" y="466"/>
                </a:cubicBezTo>
                <a:cubicBezTo>
                  <a:pt x="611" y="461"/>
                  <a:pt x="625" y="436"/>
                  <a:pt x="625" y="398"/>
                </a:cubicBezTo>
                <a:cubicBezTo>
                  <a:pt x="625" y="354"/>
                  <a:pt x="604" y="322"/>
                  <a:pt x="547" y="322"/>
                </a:cubicBezTo>
                <a:cubicBezTo>
                  <a:pt x="431" y="322"/>
                  <a:pt x="431" y="322"/>
                  <a:pt x="431" y="322"/>
                </a:cubicBezTo>
                <a:cubicBezTo>
                  <a:pt x="431" y="608"/>
                  <a:pt x="431" y="608"/>
                  <a:pt x="431" y="608"/>
                </a:cubicBezTo>
                <a:cubicBezTo>
                  <a:pt x="505" y="608"/>
                  <a:pt x="505" y="608"/>
                  <a:pt x="505" y="608"/>
                </a:cubicBezTo>
                <a:cubicBezTo>
                  <a:pt x="505" y="493"/>
                  <a:pt x="505" y="493"/>
                  <a:pt x="505" y="493"/>
                </a:cubicBezTo>
                <a:cubicBezTo>
                  <a:pt x="525" y="493"/>
                  <a:pt x="525" y="493"/>
                  <a:pt x="525" y="493"/>
                </a:cubicBezTo>
                <a:cubicBezTo>
                  <a:pt x="543" y="493"/>
                  <a:pt x="549" y="502"/>
                  <a:pt x="549" y="534"/>
                </a:cubicBezTo>
                <a:cubicBezTo>
                  <a:pt x="549" y="553"/>
                  <a:pt x="549" y="553"/>
                  <a:pt x="549" y="553"/>
                </a:cubicBezTo>
                <a:cubicBezTo>
                  <a:pt x="549" y="565"/>
                  <a:pt x="549" y="592"/>
                  <a:pt x="556" y="608"/>
                </a:cubicBezTo>
                <a:moveTo>
                  <a:pt x="651" y="608"/>
                </a:moveTo>
                <a:cubicBezTo>
                  <a:pt x="823" y="608"/>
                  <a:pt x="823" y="608"/>
                  <a:pt x="823" y="608"/>
                </a:cubicBezTo>
                <a:cubicBezTo>
                  <a:pt x="823" y="547"/>
                  <a:pt x="823" y="547"/>
                  <a:pt x="823" y="547"/>
                </a:cubicBezTo>
                <a:cubicBezTo>
                  <a:pt x="725" y="547"/>
                  <a:pt x="725" y="547"/>
                  <a:pt x="725" y="547"/>
                </a:cubicBezTo>
                <a:cubicBezTo>
                  <a:pt x="725" y="490"/>
                  <a:pt x="725" y="490"/>
                  <a:pt x="725" y="490"/>
                </a:cubicBezTo>
                <a:cubicBezTo>
                  <a:pt x="814" y="490"/>
                  <a:pt x="814" y="490"/>
                  <a:pt x="814" y="490"/>
                </a:cubicBezTo>
                <a:cubicBezTo>
                  <a:pt x="814" y="432"/>
                  <a:pt x="814" y="432"/>
                  <a:pt x="814" y="432"/>
                </a:cubicBezTo>
                <a:cubicBezTo>
                  <a:pt x="725" y="432"/>
                  <a:pt x="725" y="432"/>
                  <a:pt x="725" y="432"/>
                </a:cubicBezTo>
                <a:cubicBezTo>
                  <a:pt x="725" y="383"/>
                  <a:pt x="725" y="383"/>
                  <a:pt x="725" y="383"/>
                </a:cubicBezTo>
                <a:cubicBezTo>
                  <a:pt x="820" y="383"/>
                  <a:pt x="820" y="383"/>
                  <a:pt x="820" y="383"/>
                </a:cubicBezTo>
                <a:cubicBezTo>
                  <a:pt x="820" y="322"/>
                  <a:pt x="820" y="322"/>
                  <a:pt x="820" y="322"/>
                </a:cubicBezTo>
                <a:cubicBezTo>
                  <a:pt x="651" y="322"/>
                  <a:pt x="651" y="322"/>
                  <a:pt x="651" y="322"/>
                </a:cubicBezTo>
                <a:lnTo>
                  <a:pt x="651" y="608"/>
                </a:lnTo>
                <a:close/>
                <a:moveTo>
                  <a:pt x="847" y="608"/>
                </a:moveTo>
                <a:cubicBezTo>
                  <a:pt x="914" y="608"/>
                  <a:pt x="914" y="608"/>
                  <a:pt x="914" y="608"/>
                </a:cubicBezTo>
                <a:cubicBezTo>
                  <a:pt x="914" y="529"/>
                  <a:pt x="914" y="529"/>
                  <a:pt x="914" y="529"/>
                </a:cubicBezTo>
                <a:cubicBezTo>
                  <a:pt x="847" y="529"/>
                  <a:pt x="847" y="529"/>
                  <a:pt x="847" y="529"/>
                </a:cubicBezTo>
                <a:lnTo>
                  <a:pt x="847" y="608"/>
                </a:lnTo>
                <a:close/>
                <a:moveTo>
                  <a:pt x="790" y="1252"/>
                </a:moveTo>
                <a:cubicBezTo>
                  <a:pt x="963" y="1252"/>
                  <a:pt x="963" y="1252"/>
                  <a:pt x="963" y="1252"/>
                </a:cubicBezTo>
                <a:cubicBezTo>
                  <a:pt x="963" y="1191"/>
                  <a:pt x="963" y="1191"/>
                  <a:pt x="963" y="1191"/>
                </a:cubicBezTo>
                <a:cubicBezTo>
                  <a:pt x="864" y="1191"/>
                  <a:pt x="864" y="1191"/>
                  <a:pt x="864" y="1191"/>
                </a:cubicBezTo>
                <a:cubicBezTo>
                  <a:pt x="864" y="1134"/>
                  <a:pt x="864" y="1134"/>
                  <a:pt x="864" y="1134"/>
                </a:cubicBezTo>
                <a:cubicBezTo>
                  <a:pt x="953" y="1134"/>
                  <a:pt x="953" y="1134"/>
                  <a:pt x="953" y="1134"/>
                </a:cubicBezTo>
                <a:cubicBezTo>
                  <a:pt x="953" y="1076"/>
                  <a:pt x="953" y="1076"/>
                  <a:pt x="953" y="1076"/>
                </a:cubicBezTo>
                <a:cubicBezTo>
                  <a:pt x="864" y="1076"/>
                  <a:pt x="864" y="1076"/>
                  <a:pt x="864" y="1076"/>
                </a:cubicBezTo>
                <a:cubicBezTo>
                  <a:pt x="864" y="1027"/>
                  <a:pt x="864" y="1027"/>
                  <a:pt x="864" y="1027"/>
                </a:cubicBezTo>
                <a:cubicBezTo>
                  <a:pt x="959" y="1027"/>
                  <a:pt x="959" y="1027"/>
                  <a:pt x="959" y="1027"/>
                </a:cubicBezTo>
                <a:cubicBezTo>
                  <a:pt x="959" y="966"/>
                  <a:pt x="959" y="966"/>
                  <a:pt x="959" y="966"/>
                </a:cubicBezTo>
                <a:cubicBezTo>
                  <a:pt x="790" y="966"/>
                  <a:pt x="790" y="966"/>
                  <a:pt x="790" y="966"/>
                </a:cubicBezTo>
                <a:lnTo>
                  <a:pt x="790" y="1252"/>
                </a:lnTo>
                <a:close/>
                <a:moveTo>
                  <a:pt x="1103" y="1053"/>
                </a:moveTo>
                <a:cubicBezTo>
                  <a:pt x="1103" y="1074"/>
                  <a:pt x="1093" y="1087"/>
                  <a:pt x="1072" y="1087"/>
                </a:cubicBezTo>
                <a:cubicBezTo>
                  <a:pt x="1057" y="1087"/>
                  <a:pt x="1057" y="1087"/>
                  <a:pt x="1057" y="1087"/>
                </a:cubicBezTo>
                <a:cubicBezTo>
                  <a:pt x="1057" y="1020"/>
                  <a:pt x="1057" y="1020"/>
                  <a:pt x="1057" y="1020"/>
                </a:cubicBezTo>
                <a:cubicBezTo>
                  <a:pt x="1072" y="1020"/>
                  <a:pt x="1072" y="1020"/>
                  <a:pt x="1072" y="1020"/>
                </a:cubicBezTo>
                <a:cubicBezTo>
                  <a:pt x="1094" y="1020"/>
                  <a:pt x="1103" y="1030"/>
                  <a:pt x="1103" y="1053"/>
                </a:cubicBezTo>
                <a:moveTo>
                  <a:pt x="1109" y="1252"/>
                </a:moveTo>
                <a:cubicBezTo>
                  <a:pt x="1188" y="1252"/>
                  <a:pt x="1188" y="1252"/>
                  <a:pt x="1188" y="1252"/>
                </a:cubicBezTo>
                <a:cubicBezTo>
                  <a:pt x="1188" y="1248"/>
                  <a:pt x="1188" y="1248"/>
                  <a:pt x="1188" y="1248"/>
                </a:cubicBezTo>
                <a:cubicBezTo>
                  <a:pt x="1183" y="1245"/>
                  <a:pt x="1181" y="1242"/>
                  <a:pt x="1179" y="1239"/>
                </a:cubicBezTo>
                <a:cubicBezTo>
                  <a:pt x="1176" y="1233"/>
                  <a:pt x="1176" y="1214"/>
                  <a:pt x="1176" y="1199"/>
                </a:cubicBezTo>
                <a:cubicBezTo>
                  <a:pt x="1176" y="1175"/>
                  <a:pt x="1176" y="1175"/>
                  <a:pt x="1176" y="1175"/>
                </a:cubicBezTo>
                <a:cubicBezTo>
                  <a:pt x="1176" y="1137"/>
                  <a:pt x="1165" y="1114"/>
                  <a:pt x="1129" y="1111"/>
                </a:cubicBezTo>
                <a:cubicBezTo>
                  <a:pt x="1129" y="1110"/>
                  <a:pt x="1129" y="1110"/>
                  <a:pt x="1129" y="1110"/>
                </a:cubicBezTo>
                <a:cubicBezTo>
                  <a:pt x="1163" y="1105"/>
                  <a:pt x="1178" y="1080"/>
                  <a:pt x="1178" y="1042"/>
                </a:cubicBezTo>
                <a:cubicBezTo>
                  <a:pt x="1178" y="998"/>
                  <a:pt x="1156" y="966"/>
                  <a:pt x="1099" y="966"/>
                </a:cubicBezTo>
                <a:cubicBezTo>
                  <a:pt x="983" y="966"/>
                  <a:pt x="983" y="966"/>
                  <a:pt x="983" y="966"/>
                </a:cubicBezTo>
                <a:cubicBezTo>
                  <a:pt x="983" y="1252"/>
                  <a:pt x="983" y="1252"/>
                  <a:pt x="983" y="1252"/>
                </a:cubicBezTo>
                <a:cubicBezTo>
                  <a:pt x="1057" y="1252"/>
                  <a:pt x="1057" y="1252"/>
                  <a:pt x="1057" y="1252"/>
                </a:cubicBezTo>
                <a:cubicBezTo>
                  <a:pt x="1057" y="1137"/>
                  <a:pt x="1057" y="1137"/>
                  <a:pt x="1057" y="1137"/>
                </a:cubicBezTo>
                <a:cubicBezTo>
                  <a:pt x="1077" y="1137"/>
                  <a:pt x="1077" y="1137"/>
                  <a:pt x="1077" y="1137"/>
                </a:cubicBezTo>
                <a:cubicBezTo>
                  <a:pt x="1095" y="1137"/>
                  <a:pt x="1101" y="1146"/>
                  <a:pt x="1101" y="1178"/>
                </a:cubicBezTo>
                <a:cubicBezTo>
                  <a:pt x="1101" y="1197"/>
                  <a:pt x="1101" y="1197"/>
                  <a:pt x="1101" y="1197"/>
                </a:cubicBezTo>
                <a:cubicBezTo>
                  <a:pt x="1101" y="1209"/>
                  <a:pt x="1101" y="1237"/>
                  <a:pt x="1109" y="1252"/>
                </a:cubicBezTo>
                <a:moveTo>
                  <a:pt x="1274" y="1173"/>
                </a:moveTo>
                <a:cubicBezTo>
                  <a:pt x="1207" y="1173"/>
                  <a:pt x="1207" y="1173"/>
                  <a:pt x="1207" y="1173"/>
                </a:cubicBezTo>
                <a:cubicBezTo>
                  <a:pt x="1207" y="1252"/>
                  <a:pt x="1207" y="1252"/>
                  <a:pt x="1207" y="1252"/>
                </a:cubicBezTo>
                <a:cubicBezTo>
                  <a:pt x="1274" y="1252"/>
                  <a:pt x="1274" y="1252"/>
                  <a:pt x="1274" y="1252"/>
                </a:cubicBezTo>
                <a:lnTo>
                  <a:pt x="1274" y="11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349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Ul35ef79utSlUr1jbcf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935E351C4E70418839C32B4C465BC9" ma:contentTypeVersion="4" ma:contentTypeDescription="Create a new document." ma:contentTypeScope="" ma:versionID="fc7c308634f76d4bb5247b29dc176cde">
  <xsd:schema xmlns:xsd="http://www.w3.org/2001/XMLSchema" xmlns:xs="http://www.w3.org/2001/XMLSchema" xmlns:p="http://schemas.microsoft.com/office/2006/metadata/properties" xmlns:ns2="c7102873-e16f-4983-9acb-c72440ca9090" xmlns:ns3="09231072-face-409a-9401-7f17faeed8b1" targetNamespace="http://schemas.microsoft.com/office/2006/metadata/properties" ma:root="true" ma:fieldsID="c06c171a620ab58f22baf69e2008fb0c" ns2:_="" ns3:_="">
    <xsd:import namespace="c7102873-e16f-4983-9acb-c72440ca9090"/>
    <xsd:import namespace="09231072-face-409a-9401-7f17faeed8b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102873-e16f-4983-9acb-c72440ca909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231072-face-409a-9401-7f17faeed8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B23A4F-A458-4114-9906-2DFCB907EC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102873-e16f-4983-9acb-c72440ca9090"/>
    <ds:schemaRef ds:uri="09231072-face-409a-9401-7f17faeed8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AEDDE4-6346-4F65-B206-FB1FC2D25EA2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c7102873-e16f-4983-9acb-c72440ca9090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9231072-face-409a-9401-7f17faeed8b1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1FD5600-CF82-435A-A6ED-0AE91E43D1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70</TotalTime>
  <Words>394</Words>
  <Application>Microsoft Office PowerPoint</Application>
  <PresentationFormat>Widescreen</PresentationFormat>
  <Paragraphs>44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Wingdings 2</vt:lpstr>
      <vt:lpstr>Arial Black</vt:lpstr>
      <vt:lpstr>HelveticaNeueLT Std Lt Cn</vt:lpstr>
      <vt:lpstr>Arial</vt:lpstr>
      <vt:lpstr>Calibri</vt:lpstr>
      <vt:lpstr>IPSOS - Classical Template - 16x9</vt:lpstr>
      <vt:lpstr>Diapositive think-cell</vt:lpstr>
      <vt:lpstr>Требования к картинкам для опросов</vt:lpstr>
      <vt:lpstr>Тип картинок (1/2)</vt:lpstr>
      <vt:lpstr>Тип картинок (2/2)</vt:lpstr>
      <vt:lpstr>Названия картинок</vt:lpstr>
      <vt:lpstr>Названия папок с картинками</vt:lpstr>
      <vt:lpstr>Размеры картинок</vt:lpstr>
      <vt:lpstr>ПОЛЕЗНЫЕ макросы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main Carette</dc:creator>
  <cp:lastModifiedBy>Михаил Чесноков</cp:lastModifiedBy>
  <cp:revision>459</cp:revision>
  <dcterms:created xsi:type="dcterms:W3CDTF">2019-04-23T08:35:40Z</dcterms:created>
  <dcterms:modified xsi:type="dcterms:W3CDTF">2019-07-07T17:3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935E351C4E70418839C32B4C465BC9</vt:lpwstr>
  </property>
</Properties>
</file>